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omments/comment2.xml" ContentType="application/vnd.openxmlformats-officedocument.presentationml.comment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72" r:id="rId6"/>
    <p:sldMasterId id="2147484485" r:id="rId7"/>
    <p:sldMasterId id="2147484512" r:id="rId8"/>
  </p:sldMasterIdLst>
  <p:notesMasterIdLst>
    <p:notesMasterId r:id="rId44"/>
  </p:notesMasterIdLst>
  <p:handoutMasterIdLst>
    <p:handoutMasterId r:id="rId45"/>
  </p:handoutMasterIdLst>
  <p:sldIdLst>
    <p:sldId id="1313" r:id="rId9"/>
    <p:sldId id="1429" r:id="rId10"/>
    <p:sldId id="1473" r:id="rId11"/>
    <p:sldId id="1433" r:id="rId12"/>
    <p:sldId id="1434" r:id="rId13"/>
    <p:sldId id="1430" r:id="rId14"/>
    <p:sldId id="1435" r:id="rId15"/>
    <p:sldId id="1436" r:id="rId16"/>
    <p:sldId id="1437" r:id="rId17"/>
    <p:sldId id="1438" r:id="rId18"/>
    <p:sldId id="1439" r:id="rId19"/>
    <p:sldId id="1466" r:id="rId20"/>
    <p:sldId id="1464" r:id="rId21"/>
    <p:sldId id="1463" r:id="rId22"/>
    <p:sldId id="1456" r:id="rId23"/>
    <p:sldId id="1457" r:id="rId24"/>
    <p:sldId id="1467" r:id="rId25"/>
    <p:sldId id="1454" r:id="rId26"/>
    <p:sldId id="1455" r:id="rId27"/>
    <p:sldId id="1461" r:id="rId28"/>
    <p:sldId id="1453" r:id="rId29"/>
    <p:sldId id="1451" r:id="rId30"/>
    <p:sldId id="1471" r:id="rId31"/>
    <p:sldId id="1442" r:id="rId32"/>
    <p:sldId id="1469" r:id="rId33"/>
    <p:sldId id="1444" r:id="rId34"/>
    <p:sldId id="1468" r:id="rId35"/>
    <p:sldId id="1445" r:id="rId36"/>
    <p:sldId id="1447" r:id="rId37"/>
    <p:sldId id="1446" r:id="rId38"/>
    <p:sldId id="1470" r:id="rId39"/>
    <p:sldId id="1474" r:id="rId40"/>
    <p:sldId id="1448" r:id="rId41"/>
    <p:sldId id="1449" r:id="rId42"/>
    <p:sldId id="1450" r:id="rId43"/>
  </p:sldIdLst>
  <p:sldSz cx="12436475" cy="6994525"/>
  <p:notesSz cx="7010400" cy="9296400"/>
  <p:defaultTex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p:defaultTextStyle>
  <p:extLst>
    <p:ext uri="{521415D9-36F7-43E2-AB2F-B90AF26B5E84}">
      <p14:sectionLst xmlns:p14="http://schemas.microsoft.com/office/powerpoint/2010/main">
        <p14:section name="Default Section" id="{B6BD732E-0C4E-4BCA-9E12-D56006AD533B}">
          <p14:sldIdLst>
            <p14:sldId id="1313"/>
            <p14:sldId id="1429"/>
            <p14:sldId id="1473"/>
            <p14:sldId id="1433"/>
            <p14:sldId id="1434"/>
            <p14:sldId id="1430"/>
            <p14:sldId id="1435"/>
            <p14:sldId id="1436"/>
            <p14:sldId id="1437"/>
            <p14:sldId id="1438"/>
            <p14:sldId id="1439"/>
            <p14:sldId id="1466"/>
            <p14:sldId id="1464"/>
            <p14:sldId id="1463"/>
            <p14:sldId id="1456"/>
            <p14:sldId id="1457"/>
            <p14:sldId id="1467"/>
            <p14:sldId id="1454"/>
            <p14:sldId id="1455"/>
            <p14:sldId id="1461"/>
            <p14:sldId id="1453"/>
            <p14:sldId id="1451"/>
            <p14:sldId id="1471"/>
            <p14:sldId id="1442"/>
            <p14:sldId id="1469"/>
            <p14:sldId id="1444"/>
            <p14:sldId id="1468"/>
            <p14:sldId id="1445"/>
            <p14:sldId id="1447"/>
            <p14:sldId id="1446"/>
            <p14:sldId id="1470"/>
            <p14:sldId id="1474"/>
            <p14:sldId id="1448"/>
            <p14:sldId id="1449"/>
            <p14:sldId id="1450"/>
          </p14:sldIdLst>
        </p14:section>
        <p14:section name="Appendix" id="{353439C4-C0C0-444D-BED6-E4DA2270DC87}">
          <p14:sldIdLst/>
        </p14:section>
      </p14:sectionLst>
    </p:ext>
    <p:ext uri="{EFAFB233-063F-42B5-8137-9DF3F51BA10A}">
      <p15:sldGuideLst xmlns:p15="http://schemas.microsoft.com/office/powerpoint/2012/main">
        <p15:guide id="46" orient="horz" pos="187" userDrawn="1">
          <p15:clr>
            <a:srgbClr val="A4A3A4"/>
          </p15:clr>
        </p15:guide>
        <p15:guide id="47" orient="horz" pos="763" userDrawn="1">
          <p15:clr>
            <a:srgbClr val="A4A3A4"/>
          </p15:clr>
        </p15:guide>
        <p15:guide id="49" pos="749" userDrawn="1">
          <p15:clr>
            <a:srgbClr val="A4A3A4"/>
          </p15:clr>
        </p15:guide>
        <p15:guide id="50" pos="173" userDrawn="1">
          <p15:clr>
            <a:srgbClr val="A4A3A4"/>
          </p15:clr>
        </p15:guide>
        <p15:guide id="51" pos="1325" userDrawn="1">
          <p15:clr>
            <a:srgbClr val="A4A3A4"/>
          </p15:clr>
        </p15:guide>
        <p15:guide id="52" pos="1877" userDrawn="1">
          <p15:clr>
            <a:srgbClr val="A4A3A4"/>
          </p15:clr>
        </p15:guide>
        <p15:guide id="53" pos="2501" userDrawn="1">
          <p15:clr>
            <a:srgbClr val="A4A3A4"/>
          </p15:clr>
        </p15:guide>
        <p15:guide id="54" pos="3053" userDrawn="1">
          <p15:clr>
            <a:srgbClr val="A4A3A4"/>
          </p15:clr>
        </p15:guide>
        <p15:guide id="56" pos="4205" userDrawn="1">
          <p15:clr>
            <a:srgbClr val="A4A3A4"/>
          </p15:clr>
        </p15:guide>
        <p15:guide id="57" pos="4781" userDrawn="1">
          <p15:clr>
            <a:srgbClr val="A4A3A4"/>
          </p15:clr>
        </p15:guide>
        <p15:guide id="58" pos="5357" userDrawn="1">
          <p15:clr>
            <a:srgbClr val="A4A3A4"/>
          </p15:clr>
        </p15:guide>
        <p15:guide id="59" pos="5933" userDrawn="1">
          <p15:clr>
            <a:srgbClr val="A4A3A4"/>
          </p15:clr>
        </p15:guide>
        <p15:guide id="60" pos="6533" userDrawn="1">
          <p15:clr>
            <a:srgbClr val="A4A3A4"/>
          </p15:clr>
        </p15:guide>
        <p15:guide id="61" pos="7085" userDrawn="1">
          <p15:clr>
            <a:srgbClr val="A4A3A4"/>
          </p15:clr>
        </p15:guide>
        <p15:guide id="62" pos="7517" userDrawn="1">
          <p15:clr>
            <a:srgbClr val="A4A3A4"/>
          </p15:clr>
        </p15:guide>
        <p15:guide id="63" orient="horz" pos="1339" userDrawn="1">
          <p15:clr>
            <a:srgbClr val="A4A3A4"/>
          </p15:clr>
        </p15:guide>
        <p15:guide id="64" orient="horz" pos="1915" userDrawn="1">
          <p15:clr>
            <a:srgbClr val="A4A3A4"/>
          </p15:clr>
        </p15:guide>
        <p15:guide id="65" orient="horz" pos="2419" userDrawn="1">
          <p15:clr>
            <a:srgbClr val="A4A3A4"/>
          </p15:clr>
        </p15:guide>
        <p15:guide id="66" orient="horz" pos="3067" userDrawn="1">
          <p15:clr>
            <a:srgbClr val="A4A3A4"/>
          </p15:clr>
        </p15:guide>
        <p15:guide id="67" orient="horz" pos="3643" userDrawn="1">
          <p15:clr>
            <a:srgbClr val="A4A3A4"/>
          </p15:clr>
        </p15:guide>
        <p15:guide id="68" orient="horz" pos="4195" userDrawn="1">
          <p15:clr>
            <a:srgbClr val="A4A3A4"/>
          </p15:clr>
        </p15:guide>
        <p15:guide id="69" orient="horz" pos="1603" userDrawn="1">
          <p15:clr>
            <a:srgbClr val="A4A3A4"/>
          </p15:clr>
        </p15:guide>
        <p15:guide id="70" orient="horz" pos="3963">
          <p15:clr>
            <a:srgbClr val="A4A3A4"/>
          </p15:clr>
        </p15:guide>
        <p15:guide id="71" pos="293" userDrawn="1">
          <p15:clr>
            <a:srgbClr val="A4A3A4"/>
          </p15:clr>
        </p15:guide>
        <p15:guide id="72" pos="131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7373"/>
    <a:srgbClr val="0078D7"/>
    <a:srgbClr val="E8CBCB"/>
    <a:srgbClr val="2980B9"/>
    <a:srgbClr val="00BCF2"/>
    <a:srgbClr val="002050"/>
    <a:srgbClr val="FF8C00"/>
    <a:srgbClr val="525252"/>
    <a:srgbClr val="32145A"/>
    <a:srgbClr val="0072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36" autoAdjust="0"/>
    <p:restoredTop sz="73318" autoAdjust="0"/>
  </p:normalViewPr>
  <p:slideViewPr>
    <p:cSldViewPr snapToGrid="0">
      <p:cViewPr>
        <p:scale>
          <a:sx n="75" d="100"/>
          <a:sy n="75" d="100"/>
        </p:scale>
        <p:origin x="912" y="360"/>
      </p:cViewPr>
      <p:guideLst>
        <p:guide orient="horz" pos="187"/>
        <p:guide orient="horz" pos="763"/>
        <p:guide pos="749"/>
        <p:guide pos="173"/>
        <p:guide pos="1325"/>
        <p:guide pos="1877"/>
        <p:guide pos="2501"/>
        <p:guide pos="3053"/>
        <p:guide pos="4205"/>
        <p:guide pos="4781"/>
        <p:guide pos="5357"/>
        <p:guide pos="5933"/>
        <p:guide pos="6533"/>
        <p:guide pos="7085"/>
        <p:guide pos="7517"/>
        <p:guide orient="horz" pos="1339"/>
        <p:guide orient="horz" pos="1915"/>
        <p:guide orient="horz" pos="2419"/>
        <p:guide orient="horz" pos="3067"/>
        <p:guide orient="horz" pos="3643"/>
        <p:guide orient="horz" pos="4195"/>
        <p:guide orient="horz" pos="1603"/>
        <p:guide orient="horz" pos="3963"/>
        <p:guide pos="293"/>
        <p:guide pos="1319"/>
      </p:guideLst>
    </p:cSldViewPr>
  </p:slideViewPr>
  <p:notesTextViewPr>
    <p:cViewPr>
      <p:scale>
        <a:sx n="3" d="2"/>
        <a:sy n="3" d="2"/>
      </p:scale>
      <p:origin x="0" y="0"/>
    </p:cViewPr>
  </p:notesTextViewPr>
  <p:sorterViewPr>
    <p:cViewPr>
      <p:scale>
        <a:sx n="70" d="100"/>
        <a:sy n="70" d="100"/>
      </p:scale>
      <p:origin x="0" y="0"/>
    </p:cViewPr>
  </p:sorterViewPr>
  <p:notesViewPr>
    <p:cSldViewPr snapToGrid="0">
      <p:cViewPr varScale="1">
        <p:scale>
          <a:sx n="82" d="100"/>
          <a:sy n="82" d="100"/>
        </p:scale>
        <p:origin x="2460" y="4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17-01-28T12:59:53.797" idx="2">
    <p:pos x="10" y="10"/>
    <p:text>Hay que sacar más cosas de aquí e incroporarlas a la presentación, sobre todo en las notas</p:text>
    <p:extLst>
      <p:ext uri="{C676402C-5697-4E1C-873F-D02D1690AC5C}">
        <p15:threadingInfo xmlns:p15="http://schemas.microsoft.com/office/powerpoint/2012/main" timeZoneBias="-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17-01-28T12:59:53.797" idx="3">
    <p:pos x="10" y="10"/>
    <p:text>Hay que sacar más cosas de aquí e incroporarlas a la presentación, sobre todo en las notas</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2399FF-DE5E-4CE9-93FC-82E239E56DBB}"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s-ES"/>
        </a:p>
      </dgm:t>
    </dgm:pt>
    <dgm:pt modelId="{158226FE-A214-4278-9F7D-908069AA4A07}" type="pres">
      <dgm:prSet presAssocID="{412399FF-DE5E-4CE9-93FC-82E239E56DBB}" presName="linear" presStyleCnt="0">
        <dgm:presLayoutVars>
          <dgm:animLvl val="lvl"/>
          <dgm:resizeHandles val="exact"/>
        </dgm:presLayoutVars>
      </dgm:prSet>
      <dgm:spPr/>
      <dgm:t>
        <a:bodyPr/>
        <a:lstStyle/>
        <a:p>
          <a:endParaRPr lang="es-ES"/>
        </a:p>
      </dgm:t>
    </dgm:pt>
  </dgm:ptLst>
  <dgm:cxnLst>
    <dgm:cxn modelId="{3410F44A-847E-4F5F-9A01-F24D9F9638D5}" type="presOf" srcId="{412399FF-DE5E-4CE9-93FC-82E239E56DBB}" destId="{158226FE-A214-4278-9F7D-908069AA4A07}"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ACFF0D5-EB4C-4EB1-B2A4-682243C07E5A}" type="doc">
      <dgm:prSet loTypeId="urn:microsoft.com/office/officeart/2005/8/layout/process2" loCatId="process" qsTypeId="urn:microsoft.com/office/officeart/2005/8/quickstyle/3d3" qsCatId="3D" csTypeId="urn:microsoft.com/office/officeart/2005/8/colors/accent3_5" csCatId="accent3" phldr="1"/>
      <dgm:spPr/>
    </dgm:pt>
    <dgm:pt modelId="{92AC7BA4-D4D2-4E9B-840D-2021473900A4}">
      <dgm:prSet phldrT="[Texto]"/>
      <dgm:spPr/>
      <dgm:t>
        <a:bodyPr/>
        <a:lstStyle/>
        <a:p>
          <a:r>
            <a:rPr lang="es-ES" dirty="0" smtClean="0"/>
            <a:t>FASE 0 </a:t>
          </a:r>
          <a:endParaRPr lang="es-ES" dirty="0"/>
        </a:p>
      </dgm:t>
    </dgm:pt>
    <dgm:pt modelId="{3BB9D5F3-9C86-44C5-ABE6-2EBCD306FC25}" type="parTrans" cxnId="{CEA8827B-3F27-4D55-8CBB-F87FC36F5B0E}">
      <dgm:prSet/>
      <dgm:spPr/>
      <dgm:t>
        <a:bodyPr/>
        <a:lstStyle/>
        <a:p>
          <a:endParaRPr lang="es-ES"/>
        </a:p>
      </dgm:t>
    </dgm:pt>
    <dgm:pt modelId="{A70EABCE-824A-473A-94B9-D45476BB7167}" type="sibTrans" cxnId="{CEA8827B-3F27-4D55-8CBB-F87FC36F5B0E}">
      <dgm:prSet/>
      <dgm:spPr/>
      <dgm:t>
        <a:bodyPr/>
        <a:lstStyle/>
        <a:p>
          <a:endParaRPr lang="es-ES" dirty="0"/>
        </a:p>
      </dgm:t>
    </dgm:pt>
    <dgm:pt modelId="{5F6F60BE-B53C-48AA-BD65-0316A188CB28}">
      <dgm:prSet phldrT="[Texto]"/>
      <dgm:spPr/>
      <dgm:t>
        <a:bodyPr/>
        <a:lstStyle/>
        <a:p>
          <a:r>
            <a:rPr lang="es-ES" dirty="0" smtClean="0"/>
            <a:t>FASE 1 </a:t>
          </a:r>
          <a:endParaRPr lang="es-ES" dirty="0"/>
        </a:p>
      </dgm:t>
    </dgm:pt>
    <dgm:pt modelId="{06E40E70-5668-4C09-AFBF-54BE9FC7F223}" type="parTrans" cxnId="{18B85424-83A6-414A-ABC7-21FE3D0BD255}">
      <dgm:prSet/>
      <dgm:spPr/>
      <dgm:t>
        <a:bodyPr/>
        <a:lstStyle/>
        <a:p>
          <a:endParaRPr lang="es-ES"/>
        </a:p>
      </dgm:t>
    </dgm:pt>
    <dgm:pt modelId="{FD3F5C15-EC32-40A2-B13E-EEEC84988BBC}" type="sibTrans" cxnId="{18B85424-83A6-414A-ABC7-21FE3D0BD255}">
      <dgm:prSet/>
      <dgm:spPr/>
      <dgm:t>
        <a:bodyPr/>
        <a:lstStyle/>
        <a:p>
          <a:endParaRPr lang="es-ES"/>
        </a:p>
      </dgm:t>
    </dgm:pt>
    <dgm:pt modelId="{45D622AC-573B-4482-AFD8-9F0E2A5A92A2}">
      <dgm:prSet phldrT="[Texto]"/>
      <dgm:spPr/>
      <dgm:t>
        <a:bodyPr/>
        <a:lstStyle/>
        <a:p>
          <a:r>
            <a:rPr lang="es-ES" dirty="0" smtClean="0"/>
            <a:t>FASE 2 </a:t>
          </a:r>
          <a:endParaRPr lang="es-ES" dirty="0"/>
        </a:p>
      </dgm:t>
    </dgm:pt>
    <dgm:pt modelId="{1C793227-71DB-499E-A833-4BA1EB94D731}" type="parTrans" cxnId="{DDDCF526-EAD0-450C-B6D4-00BD92376F95}">
      <dgm:prSet/>
      <dgm:spPr/>
      <dgm:t>
        <a:bodyPr/>
        <a:lstStyle/>
        <a:p>
          <a:endParaRPr lang="es-ES"/>
        </a:p>
      </dgm:t>
    </dgm:pt>
    <dgm:pt modelId="{C33AF5A6-F5A6-4E02-AB86-30B9D712BD33}" type="sibTrans" cxnId="{DDDCF526-EAD0-450C-B6D4-00BD92376F95}">
      <dgm:prSet/>
      <dgm:spPr/>
      <dgm:t>
        <a:bodyPr/>
        <a:lstStyle/>
        <a:p>
          <a:endParaRPr lang="es-ES"/>
        </a:p>
      </dgm:t>
    </dgm:pt>
    <dgm:pt modelId="{54528E6E-24C3-4D99-BABC-01E9CB94B0F3}">
      <dgm:prSet phldrT="[Texto]"/>
      <dgm:spPr/>
      <dgm:t>
        <a:bodyPr/>
        <a:lstStyle/>
        <a:p>
          <a:r>
            <a:rPr lang="es-ES" dirty="0" smtClean="0"/>
            <a:t>FASE 3 </a:t>
          </a:r>
          <a:endParaRPr lang="es-ES" dirty="0"/>
        </a:p>
      </dgm:t>
    </dgm:pt>
    <dgm:pt modelId="{E46454FC-BBDD-4CA4-A44A-24C159ECA810}" type="parTrans" cxnId="{61050D7E-1F06-4474-8DAF-B9F46F93ABC6}">
      <dgm:prSet/>
      <dgm:spPr/>
      <dgm:t>
        <a:bodyPr/>
        <a:lstStyle/>
        <a:p>
          <a:endParaRPr lang="es-ES"/>
        </a:p>
      </dgm:t>
    </dgm:pt>
    <dgm:pt modelId="{C9DB300B-A066-4929-9A7E-D99D325A35D3}" type="sibTrans" cxnId="{61050D7E-1F06-4474-8DAF-B9F46F93ABC6}">
      <dgm:prSet/>
      <dgm:spPr/>
      <dgm:t>
        <a:bodyPr/>
        <a:lstStyle/>
        <a:p>
          <a:endParaRPr lang="es-ES"/>
        </a:p>
      </dgm:t>
    </dgm:pt>
    <dgm:pt modelId="{218117AA-58BD-4270-9621-8639F32E7899}" type="pres">
      <dgm:prSet presAssocID="{7ACFF0D5-EB4C-4EB1-B2A4-682243C07E5A}" presName="linearFlow" presStyleCnt="0">
        <dgm:presLayoutVars>
          <dgm:resizeHandles val="exact"/>
        </dgm:presLayoutVars>
      </dgm:prSet>
      <dgm:spPr/>
    </dgm:pt>
    <dgm:pt modelId="{B70BE17F-629B-4DA7-A9D8-E3C888E1C7E1}" type="pres">
      <dgm:prSet presAssocID="{92AC7BA4-D4D2-4E9B-840D-2021473900A4}" presName="node" presStyleLbl="node1" presStyleIdx="0" presStyleCnt="4">
        <dgm:presLayoutVars>
          <dgm:bulletEnabled val="1"/>
        </dgm:presLayoutVars>
      </dgm:prSet>
      <dgm:spPr/>
      <dgm:t>
        <a:bodyPr/>
        <a:lstStyle/>
        <a:p>
          <a:endParaRPr lang="es-ES"/>
        </a:p>
      </dgm:t>
    </dgm:pt>
    <dgm:pt modelId="{023EF5A7-AD39-4677-87A9-74D29E035B62}" type="pres">
      <dgm:prSet presAssocID="{A70EABCE-824A-473A-94B9-D45476BB7167}" presName="sibTrans" presStyleLbl="sibTrans2D1" presStyleIdx="0" presStyleCnt="3" custLinFactNeighborY="0"/>
      <dgm:spPr/>
      <dgm:t>
        <a:bodyPr/>
        <a:lstStyle/>
        <a:p>
          <a:endParaRPr lang="es-ES"/>
        </a:p>
      </dgm:t>
    </dgm:pt>
    <dgm:pt modelId="{0A3ECCDB-BC86-4196-9BAC-E19C2C3FD4A0}" type="pres">
      <dgm:prSet presAssocID="{A70EABCE-824A-473A-94B9-D45476BB7167}" presName="connectorText" presStyleLbl="sibTrans2D1" presStyleIdx="0" presStyleCnt="3"/>
      <dgm:spPr/>
      <dgm:t>
        <a:bodyPr/>
        <a:lstStyle/>
        <a:p>
          <a:endParaRPr lang="es-ES"/>
        </a:p>
      </dgm:t>
    </dgm:pt>
    <dgm:pt modelId="{4F446970-7118-4FD1-B9B6-02DEB042B161}" type="pres">
      <dgm:prSet presAssocID="{5F6F60BE-B53C-48AA-BD65-0316A188CB28}" presName="node" presStyleLbl="node1" presStyleIdx="1" presStyleCnt="4">
        <dgm:presLayoutVars>
          <dgm:bulletEnabled val="1"/>
        </dgm:presLayoutVars>
      </dgm:prSet>
      <dgm:spPr/>
      <dgm:t>
        <a:bodyPr/>
        <a:lstStyle/>
        <a:p>
          <a:endParaRPr lang="es-ES"/>
        </a:p>
      </dgm:t>
    </dgm:pt>
    <dgm:pt modelId="{0B9C426C-FE12-4975-B092-E1B521E99D88}" type="pres">
      <dgm:prSet presAssocID="{FD3F5C15-EC32-40A2-B13E-EEEC84988BBC}" presName="sibTrans" presStyleLbl="sibTrans2D1" presStyleIdx="1" presStyleCnt="3"/>
      <dgm:spPr/>
      <dgm:t>
        <a:bodyPr/>
        <a:lstStyle/>
        <a:p>
          <a:endParaRPr lang="es-ES"/>
        </a:p>
      </dgm:t>
    </dgm:pt>
    <dgm:pt modelId="{98E03AEC-9437-451E-903F-830E99125692}" type="pres">
      <dgm:prSet presAssocID="{FD3F5C15-EC32-40A2-B13E-EEEC84988BBC}" presName="connectorText" presStyleLbl="sibTrans2D1" presStyleIdx="1" presStyleCnt="3"/>
      <dgm:spPr/>
      <dgm:t>
        <a:bodyPr/>
        <a:lstStyle/>
        <a:p>
          <a:endParaRPr lang="es-ES"/>
        </a:p>
      </dgm:t>
    </dgm:pt>
    <dgm:pt modelId="{B868110E-7585-406D-8DAE-7A1A7BFEA5BC}" type="pres">
      <dgm:prSet presAssocID="{45D622AC-573B-4482-AFD8-9F0E2A5A92A2}" presName="node" presStyleLbl="node1" presStyleIdx="2" presStyleCnt="4">
        <dgm:presLayoutVars>
          <dgm:bulletEnabled val="1"/>
        </dgm:presLayoutVars>
      </dgm:prSet>
      <dgm:spPr/>
      <dgm:t>
        <a:bodyPr/>
        <a:lstStyle/>
        <a:p>
          <a:endParaRPr lang="es-ES"/>
        </a:p>
      </dgm:t>
    </dgm:pt>
    <dgm:pt modelId="{F92E0816-08E0-4F0E-AAE8-54FCC4459CA9}" type="pres">
      <dgm:prSet presAssocID="{C33AF5A6-F5A6-4E02-AB86-30B9D712BD33}" presName="sibTrans" presStyleLbl="sibTrans2D1" presStyleIdx="2" presStyleCnt="3"/>
      <dgm:spPr/>
      <dgm:t>
        <a:bodyPr/>
        <a:lstStyle/>
        <a:p>
          <a:endParaRPr lang="es-ES"/>
        </a:p>
      </dgm:t>
    </dgm:pt>
    <dgm:pt modelId="{52186A7C-7A2A-4EB2-98F9-F059DA802D19}" type="pres">
      <dgm:prSet presAssocID="{C33AF5A6-F5A6-4E02-AB86-30B9D712BD33}" presName="connectorText" presStyleLbl="sibTrans2D1" presStyleIdx="2" presStyleCnt="3"/>
      <dgm:spPr/>
      <dgm:t>
        <a:bodyPr/>
        <a:lstStyle/>
        <a:p>
          <a:endParaRPr lang="es-ES"/>
        </a:p>
      </dgm:t>
    </dgm:pt>
    <dgm:pt modelId="{73CAA413-7E99-47F2-80E6-BD84ACF5E73E}" type="pres">
      <dgm:prSet presAssocID="{54528E6E-24C3-4D99-BABC-01E9CB94B0F3}" presName="node" presStyleLbl="node1" presStyleIdx="3" presStyleCnt="4">
        <dgm:presLayoutVars>
          <dgm:bulletEnabled val="1"/>
        </dgm:presLayoutVars>
      </dgm:prSet>
      <dgm:spPr/>
      <dgm:t>
        <a:bodyPr/>
        <a:lstStyle/>
        <a:p>
          <a:endParaRPr lang="es-ES"/>
        </a:p>
      </dgm:t>
    </dgm:pt>
  </dgm:ptLst>
  <dgm:cxnLst>
    <dgm:cxn modelId="{1CF403F4-CE53-405A-86E7-417B5D8C171E}" type="presOf" srcId="{A70EABCE-824A-473A-94B9-D45476BB7167}" destId="{0A3ECCDB-BC86-4196-9BAC-E19C2C3FD4A0}" srcOrd="1" destOrd="0" presId="urn:microsoft.com/office/officeart/2005/8/layout/process2"/>
    <dgm:cxn modelId="{CEA8827B-3F27-4D55-8CBB-F87FC36F5B0E}" srcId="{7ACFF0D5-EB4C-4EB1-B2A4-682243C07E5A}" destId="{92AC7BA4-D4D2-4E9B-840D-2021473900A4}" srcOrd="0" destOrd="0" parTransId="{3BB9D5F3-9C86-44C5-ABE6-2EBCD306FC25}" sibTransId="{A70EABCE-824A-473A-94B9-D45476BB7167}"/>
    <dgm:cxn modelId="{20A09EEE-C403-4EF2-947F-6EB4D77BAE77}" type="presOf" srcId="{92AC7BA4-D4D2-4E9B-840D-2021473900A4}" destId="{B70BE17F-629B-4DA7-A9D8-E3C888E1C7E1}" srcOrd="0" destOrd="0" presId="urn:microsoft.com/office/officeart/2005/8/layout/process2"/>
    <dgm:cxn modelId="{A7F4AE9C-14D6-403A-8A46-FCE158FE5337}" type="presOf" srcId="{C33AF5A6-F5A6-4E02-AB86-30B9D712BD33}" destId="{F92E0816-08E0-4F0E-AAE8-54FCC4459CA9}" srcOrd="0" destOrd="0" presId="urn:microsoft.com/office/officeart/2005/8/layout/process2"/>
    <dgm:cxn modelId="{5B0A78CD-56C3-4A0A-8649-207704E1B79B}" type="presOf" srcId="{FD3F5C15-EC32-40A2-B13E-EEEC84988BBC}" destId="{98E03AEC-9437-451E-903F-830E99125692}" srcOrd="1" destOrd="0" presId="urn:microsoft.com/office/officeart/2005/8/layout/process2"/>
    <dgm:cxn modelId="{E2BF8BD6-ED20-4A65-995B-86D06F249783}" type="presOf" srcId="{54528E6E-24C3-4D99-BABC-01E9CB94B0F3}" destId="{73CAA413-7E99-47F2-80E6-BD84ACF5E73E}" srcOrd="0" destOrd="0" presId="urn:microsoft.com/office/officeart/2005/8/layout/process2"/>
    <dgm:cxn modelId="{81740FB5-6F52-42C5-96EA-4C48ADF8740A}" type="presOf" srcId="{FD3F5C15-EC32-40A2-B13E-EEEC84988BBC}" destId="{0B9C426C-FE12-4975-B092-E1B521E99D88}" srcOrd="0" destOrd="0" presId="urn:microsoft.com/office/officeart/2005/8/layout/process2"/>
    <dgm:cxn modelId="{03BA197A-EEC5-4092-BE79-0A55B0122E1D}" type="presOf" srcId="{45D622AC-573B-4482-AFD8-9F0E2A5A92A2}" destId="{B868110E-7585-406D-8DAE-7A1A7BFEA5BC}" srcOrd="0" destOrd="0" presId="urn:microsoft.com/office/officeart/2005/8/layout/process2"/>
    <dgm:cxn modelId="{9B7F5FD5-30DD-4281-97C2-B37BE7C48D0E}" type="presOf" srcId="{7ACFF0D5-EB4C-4EB1-B2A4-682243C07E5A}" destId="{218117AA-58BD-4270-9621-8639F32E7899}" srcOrd="0" destOrd="0" presId="urn:microsoft.com/office/officeart/2005/8/layout/process2"/>
    <dgm:cxn modelId="{18B85424-83A6-414A-ABC7-21FE3D0BD255}" srcId="{7ACFF0D5-EB4C-4EB1-B2A4-682243C07E5A}" destId="{5F6F60BE-B53C-48AA-BD65-0316A188CB28}" srcOrd="1" destOrd="0" parTransId="{06E40E70-5668-4C09-AFBF-54BE9FC7F223}" sibTransId="{FD3F5C15-EC32-40A2-B13E-EEEC84988BBC}"/>
    <dgm:cxn modelId="{851C7F47-E96F-4E6F-B12F-EC7C1B58CB61}" type="presOf" srcId="{A70EABCE-824A-473A-94B9-D45476BB7167}" destId="{023EF5A7-AD39-4677-87A9-74D29E035B62}" srcOrd="0" destOrd="0" presId="urn:microsoft.com/office/officeart/2005/8/layout/process2"/>
    <dgm:cxn modelId="{8D013A41-E651-4CBF-AAEC-D2B493DA4C93}" type="presOf" srcId="{5F6F60BE-B53C-48AA-BD65-0316A188CB28}" destId="{4F446970-7118-4FD1-B9B6-02DEB042B161}" srcOrd="0" destOrd="0" presId="urn:microsoft.com/office/officeart/2005/8/layout/process2"/>
    <dgm:cxn modelId="{F397271E-1824-42AD-A2FD-5963C679ACE8}" type="presOf" srcId="{C33AF5A6-F5A6-4E02-AB86-30B9D712BD33}" destId="{52186A7C-7A2A-4EB2-98F9-F059DA802D19}" srcOrd="1" destOrd="0" presId="urn:microsoft.com/office/officeart/2005/8/layout/process2"/>
    <dgm:cxn modelId="{61050D7E-1F06-4474-8DAF-B9F46F93ABC6}" srcId="{7ACFF0D5-EB4C-4EB1-B2A4-682243C07E5A}" destId="{54528E6E-24C3-4D99-BABC-01E9CB94B0F3}" srcOrd="3" destOrd="0" parTransId="{E46454FC-BBDD-4CA4-A44A-24C159ECA810}" sibTransId="{C9DB300B-A066-4929-9A7E-D99D325A35D3}"/>
    <dgm:cxn modelId="{DDDCF526-EAD0-450C-B6D4-00BD92376F95}" srcId="{7ACFF0D5-EB4C-4EB1-B2A4-682243C07E5A}" destId="{45D622AC-573B-4482-AFD8-9F0E2A5A92A2}" srcOrd="2" destOrd="0" parTransId="{1C793227-71DB-499E-A833-4BA1EB94D731}" sibTransId="{C33AF5A6-F5A6-4E02-AB86-30B9D712BD33}"/>
    <dgm:cxn modelId="{47F83549-69BA-438B-9EB6-9AC716276C5B}" type="presParOf" srcId="{218117AA-58BD-4270-9621-8639F32E7899}" destId="{B70BE17F-629B-4DA7-A9D8-E3C888E1C7E1}" srcOrd="0" destOrd="0" presId="urn:microsoft.com/office/officeart/2005/8/layout/process2"/>
    <dgm:cxn modelId="{FAEFB19E-0726-456E-ABE1-08770E8C2296}" type="presParOf" srcId="{218117AA-58BD-4270-9621-8639F32E7899}" destId="{023EF5A7-AD39-4677-87A9-74D29E035B62}" srcOrd="1" destOrd="0" presId="urn:microsoft.com/office/officeart/2005/8/layout/process2"/>
    <dgm:cxn modelId="{B87D556E-FE1F-41A6-B3BB-AD90C01E3411}" type="presParOf" srcId="{023EF5A7-AD39-4677-87A9-74D29E035B62}" destId="{0A3ECCDB-BC86-4196-9BAC-E19C2C3FD4A0}" srcOrd="0" destOrd="0" presId="urn:microsoft.com/office/officeart/2005/8/layout/process2"/>
    <dgm:cxn modelId="{1D5FB44A-5E96-47AC-99EB-3FD47686A30D}" type="presParOf" srcId="{218117AA-58BD-4270-9621-8639F32E7899}" destId="{4F446970-7118-4FD1-B9B6-02DEB042B161}" srcOrd="2" destOrd="0" presId="urn:microsoft.com/office/officeart/2005/8/layout/process2"/>
    <dgm:cxn modelId="{152847E7-4F44-49E5-A7FB-B76633B947AD}" type="presParOf" srcId="{218117AA-58BD-4270-9621-8639F32E7899}" destId="{0B9C426C-FE12-4975-B092-E1B521E99D88}" srcOrd="3" destOrd="0" presId="urn:microsoft.com/office/officeart/2005/8/layout/process2"/>
    <dgm:cxn modelId="{59AE2489-5A9B-4EC1-9810-13F36659CA93}" type="presParOf" srcId="{0B9C426C-FE12-4975-B092-E1B521E99D88}" destId="{98E03AEC-9437-451E-903F-830E99125692}" srcOrd="0" destOrd="0" presId="urn:microsoft.com/office/officeart/2005/8/layout/process2"/>
    <dgm:cxn modelId="{9FF3CBFE-92B9-4241-8C39-0D49C742903C}" type="presParOf" srcId="{218117AA-58BD-4270-9621-8639F32E7899}" destId="{B868110E-7585-406D-8DAE-7A1A7BFEA5BC}" srcOrd="4" destOrd="0" presId="urn:microsoft.com/office/officeart/2005/8/layout/process2"/>
    <dgm:cxn modelId="{0318230A-B402-40E1-B695-E698A6C4311C}" type="presParOf" srcId="{218117AA-58BD-4270-9621-8639F32E7899}" destId="{F92E0816-08E0-4F0E-AAE8-54FCC4459CA9}" srcOrd="5" destOrd="0" presId="urn:microsoft.com/office/officeart/2005/8/layout/process2"/>
    <dgm:cxn modelId="{2E99678D-81B0-4A65-9D67-EC0160488DD2}" type="presParOf" srcId="{F92E0816-08E0-4F0E-AAE8-54FCC4459CA9}" destId="{52186A7C-7A2A-4EB2-98F9-F059DA802D19}" srcOrd="0" destOrd="0" presId="urn:microsoft.com/office/officeart/2005/8/layout/process2"/>
    <dgm:cxn modelId="{C106D648-AB94-4246-91EC-01B016056D42}" type="presParOf" srcId="{218117AA-58BD-4270-9621-8639F32E7899}" destId="{73CAA413-7E99-47F2-80E6-BD84ACF5E73E}" srcOrd="6"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0D7841A-234C-4C88-8DEF-228AB3E3F773}"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s-ES"/>
        </a:p>
      </dgm:t>
    </dgm:pt>
    <dgm:pt modelId="{5ABA55A1-EE7D-47CC-9034-4DB9F1BDDEE6}">
      <dgm:prSet phldrT="[Texto]"/>
      <dgm:spPr/>
      <dgm:t>
        <a:bodyPr/>
        <a:lstStyle/>
        <a:p>
          <a:r>
            <a:rPr lang="es-ES" dirty="0" err="1" smtClean="0"/>
            <a:t>SoC</a:t>
          </a:r>
          <a:endParaRPr lang="es-ES" dirty="0"/>
        </a:p>
      </dgm:t>
    </dgm:pt>
    <dgm:pt modelId="{0D2103AE-DFBF-4F81-9C34-D176828E7CD6}" type="parTrans" cxnId="{BFB90F4C-FAD8-4B81-A0EA-87C6CE81B34B}">
      <dgm:prSet/>
      <dgm:spPr/>
      <dgm:t>
        <a:bodyPr/>
        <a:lstStyle/>
        <a:p>
          <a:endParaRPr lang="es-ES"/>
        </a:p>
      </dgm:t>
    </dgm:pt>
    <dgm:pt modelId="{EC5BD339-FA51-445F-8124-6C702910B98D}" type="sibTrans" cxnId="{BFB90F4C-FAD8-4B81-A0EA-87C6CE81B34B}">
      <dgm:prSet/>
      <dgm:spPr/>
      <dgm:t>
        <a:bodyPr/>
        <a:lstStyle/>
        <a:p>
          <a:endParaRPr lang="es-ES"/>
        </a:p>
      </dgm:t>
    </dgm:pt>
    <dgm:pt modelId="{F02F1AE3-4E47-4513-8CFA-01845347665D}">
      <dgm:prSet phldrT="[Texto]"/>
      <dgm:spPr/>
      <dgm:t>
        <a:bodyPr/>
        <a:lstStyle/>
        <a:p>
          <a:r>
            <a:rPr lang="es-ES" dirty="0" err="1" smtClean="0"/>
            <a:t>Separation</a:t>
          </a:r>
          <a:r>
            <a:rPr lang="es-ES" dirty="0" smtClean="0"/>
            <a:t> of </a:t>
          </a:r>
          <a:r>
            <a:rPr lang="es-ES" dirty="0" err="1" smtClean="0"/>
            <a:t>Concerns</a:t>
          </a:r>
          <a:endParaRPr lang="es-ES" dirty="0"/>
        </a:p>
      </dgm:t>
    </dgm:pt>
    <dgm:pt modelId="{088D154E-8E96-4638-B611-FD78768C4CDB}" type="parTrans" cxnId="{592E03F6-6196-4EB4-A428-E9454CCCDAD0}">
      <dgm:prSet/>
      <dgm:spPr/>
      <dgm:t>
        <a:bodyPr/>
        <a:lstStyle/>
        <a:p>
          <a:endParaRPr lang="es-ES"/>
        </a:p>
      </dgm:t>
    </dgm:pt>
    <dgm:pt modelId="{DB2B6D94-4AB8-4999-85AC-D2C5EDA9A7A8}" type="sibTrans" cxnId="{592E03F6-6196-4EB4-A428-E9454CCCDAD0}">
      <dgm:prSet/>
      <dgm:spPr/>
      <dgm:t>
        <a:bodyPr/>
        <a:lstStyle/>
        <a:p>
          <a:endParaRPr lang="es-ES"/>
        </a:p>
      </dgm:t>
    </dgm:pt>
    <dgm:pt modelId="{045CF3BC-330C-4B2E-BAF6-50A66FD810EA}">
      <dgm:prSet phldrT="[Texto]"/>
      <dgm:spPr/>
      <dgm:t>
        <a:bodyPr/>
        <a:lstStyle/>
        <a:p>
          <a:r>
            <a:rPr lang="es-ES" dirty="0" err="1" smtClean="0"/>
            <a:t>Loose</a:t>
          </a:r>
          <a:r>
            <a:rPr lang="es-ES" dirty="0" smtClean="0"/>
            <a:t> </a:t>
          </a:r>
          <a:r>
            <a:rPr lang="es-ES" dirty="0" err="1" smtClean="0"/>
            <a:t>coupling</a:t>
          </a:r>
          <a:endParaRPr lang="es-ES" dirty="0"/>
        </a:p>
      </dgm:t>
    </dgm:pt>
    <dgm:pt modelId="{E1D5B69A-5BC4-441E-85F8-4E7C8D46378D}" type="parTrans" cxnId="{F73AB11B-A610-4A35-A196-35DC7E00A169}">
      <dgm:prSet/>
      <dgm:spPr/>
      <dgm:t>
        <a:bodyPr/>
        <a:lstStyle/>
        <a:p>
          <a:endParaRPr lang="es-ES"/>
        </a:p>
      </dgm:t>
    </dgm:pt>
    <dgm:pt modelId="{EF2A6024-5B18-44BD-BFA6-D45D2A223A52}" type="sibTrans" cxnId="{F73AB11B-A610-4A35-A196-35DC7E00A169}">
      <dgm:prSet/>
      <dgm:spPr/>
      <dgm:t>
        <a:bodyPr/>
        <a:lstStyle/>
        <a:p>
          <a:endParaRPr lang="es-ES"/>
        </a:p>
      </dgm:t>
    </dgm:pt>
    <dgm:pt modelId="{459DD929-678D-4C8B-8301-FC66C5334153}">
      <dgm:prSet phldrT="[Texto]"/>
      <dgm:spPr/>
      <dgm:t>
        <a:bodyPr/>
        <a:lstStyle/>
        <a:p>
          <a:r>
            <a:rPr lang="es-ES" dirty="0" err="1" smtClean="0"/>
            <a:t>Cohesividad</a:t>
          </a:r>
          <a:endParaRPr lang="es-ES" dirty="0"/>
        </a:p>
      </dgm:t>
    </dgm:pt>
    <dgm:pt modelId="{D40086C7-EFFA-411A-A07A-D8A1EE0EFFAE}" type="parTrans" cxnId="{65304794-5ED1-4772-9081-B83E72594F47}">
      <dgm:prSet/>
      <dgm:spPr/>
      <dgm:t>
        <a:bodyPr/>
        <a:lstStyle/>
        <a:p>
          <a:endParaRPr lang="es-ES"/>
        </a:p>
      </dgm:t>
    </dgm:pt>
    <dgm:pt modelId="{BC325183-03D5-413E-B976-C8365398C9B8}" type="sibTrans" cxnId="{65304794-5ED1-4772-9081-B83E72594F47}">
      <dgm:prSet/>
      <dgm:spPr/>
      <dgm:t>
        <a:bodyPr/>
        <a:lstStyle/>
        <a:p>
          <a:endParaRPr lang="es-ES"/>
        </a:p>
      </dgm:t>
    </dgm:pt>
    <dgm:pt modelId="{1B13DCA2-E381-4F54-96B1-DE67FF499618}" type="pres">
      <dgm:prSet presAssocID="{90D7841A-234C-4C88-8DEF-228AB3E3F773}" presName="Name0" presStyleCnt="0">
        <dgm:presLayoutVars>
          <dgm:chMax/>
          <dgm:chPref/>
          <dgm:dir/>
          <dgm:animLvl val="lvl"/>
        </dgm:presLayoutVars>
      </dgm:prSet>
      <dgm:spPr/>
      <dgm:t>
        <a:bodyPr/>
        <a:lstStyle/>
        <a:p>
          <a:endParaRPr lang="es-ES"/>
        </a:p>
      </dgm:t>
    </dgm:pt>
    <dgm:pt modelId="{D8345E6C-DF92-4694-8654-1D4744888A66}" type="pres">
      <dgm:prSet presAssocID="{5ABA55A1-EE7D-47CC-9034-4DB9F1BDDEE6}" presName="composite" presStyleCnt="0"/>
      <dgm:spPr/>
    </dgm:pt>
    <dgm:pt modelId="{21C65894-42F6-4E83-8D14-2476292AE9A9}" type="pres">
      <dgm:prSet presAssocID="{5ABA55A1-EE7D-47CC-9034-4DB9F1BDDEE6}" presName="Parent1" presStyleLbl="node1" presStyleIdx="0" presStyleCnt="6">
        <dgm:presLayoutVars>
          <dgm:chMax val="1"/>
          <dgm:chPref val="1"/>
          <dgm:bulletEnabled val="1"/>
        </dgm:presLayoutVars>
      </dgm:prSet>
      <dgm:spPr/>
      <dgm:t>
        <a:bodyPr/>
        <a:lstStyle/>
        <a:p>
          <a:endParaRPr lang="es-ES"/>
        </a:p>
      </dgm:t>
    </dgm:pt>
    <dgm:pt modelId="{046A0007-17F7-4D9E-A7ED-8341E2CDA560}" type="pres">
      <dgm:prSet presAssocID="{5ABA55A1-EE7D-47CC-9034-4DB9F1BDDEE6}" presName="Childtext1" presStyleLbl="revTx" presStyleIdx="0" presStyleCnt="3">
        <dgm:presLayoutVars>
          <dgm:chMax val="0"/>
          <dgm:chPref val="0"/>
          <dgm:bulletEnabled val="1"/>
        </dgm:presLayoutVars>
      </dgm:prSet>
      <dgm:spPr/>
      <dgm:t>
        <a:bodyPr/>
        <a:lstStyle/>
        <a:p>
          <a:endParaRPr lang="es-ES"/>
        </a:p>
      </dgm:t>
    </dgm:pt>
    <dgm:pt modelId="{83F81A34-E5C2-4ADC-86BB-880E3153811B}" type="pres">
      <dgm:prSet presAssocID="{5ABA55A1-EE7D-47CC-9034-4DB9F1BDDEE6}" presName="BalanceSpacing" presStyleCnt="0"/>
      <dgm:spPr/>
    </dgm:pt>
    <dgm:pt modelId="{DF868A05-4091-4465-AA03-8C330FACD7B4}" type="pres">
      <dgm:prSet presAssocID="{5ABA55A1-EE7D-47CC-9034-4DB9F1BDDEE6}" presName="BalanceSpacing1" presStyleCnt="0"/>
      <dgm:spPr/>
    </dgm:pt>
    <dgm:pt modelId="{4351FD17-EFD6-44D7-A4D2-E21EB4BF8C8A}" type="pres">
      <dgm:prSet presAssocID="{EC5BD339-FA51-445F-8124-6C702910B98D}" presName="Accent1Text" presStyleLbl="node1" presStyleIdx="1" presStyleCnt="6"/>
      <dgm:spPr/>
      <dgm:t>
        <a:bodyPr/>
        <a:lstStyle/>
        <a:p>
          <a:endParaRPr lang="es-ES"/>
        </a:p>
      </dgm:t>
    </dgm:pt>
    <dgm:pt modelId="{A5198426-174C-4F46-8741-D7643AACC1FF}" type="pres">
      <dgm:prSet presAssocID="{EC5BD339-FA51-445F-8124-6C702910B98D}" presName="spaceBetweenRectangles" presStyleCnt="0"/>
      <dgm:spPr/>
    </dgm:pt>
    <dgm:pt modelId="{426CD07E-9B1D-43A5-B08D-B39D268169D4}" type="pres">
      <dgm:prSet presAssocID="{045CF3BC-330C-4B2E-BAF6-50A66FD810EA}" presName="composite" presStyleCnt="0"/>
      <dgm:spPr/>
    </dgm:pt>
    <dgm:pt modelId="{179B3AA6-7F76-4858-BBC7-FFD311B325A4}" type="pres">
      <dgm:prSet presAssocID="{045CF3BC-330C-4B2E-BAF6-50A66FD810EA}" presName="Parent1" presStyleLbl="node1" presStyleIdx="2" presStyleCnt="6">
        <dgm:presLayoutVars>
          <dgm:chMax val="1"/>
          <dgm:chPref val="1"/>
          <dgm:bulletEnabled val="1"/>
        </dgm:presLayoutVars>
      </dgm:prSet>
      <dgm:spPr/>
      <dgm:t>
        <a:bodyPr/>
        <a:lstStyle/>
        <a:p>
          <a:endParaRPr lang="es-ES"/>
        </a:p>
      </dgm:t>
    </dgm:pt>
    <dgm:pt modelId="{7CC11109-575D-49A0-91B7-590C6BE598AB}" type="pres">
      <dgm:prSet presAssocID="{045CF3BC-330C-4B2E-BAF6-50A66FD810EA}" presName="Childtext1" presStyleLbl="revTx" presStyleIdx="1" presStyleCnt="3">
        <dgm:presLayoutVars>
          <dgm:chMax val="0"/>
          <dgm:chPref val="0"/>
          <dgm:bulletEnabled val="1"/>
        </dgm:presLayoutVars>
      </dgm:prSet>
      <dgm:spPr/>
      <dgm:t>
        <a:bodyPr/>
        <a:lstStyle/>
        <a:p>
          <a:endParaRPr lang="es-ES"/>
        </a:p>
      </dgm:t>
    </dgm:pt>
    <dgm:pt modelId="{AEE9A41B-4885-430C-B553-FE87AF947C79}" type="pres">
      <dgm:prSet presAssocID="{045CF3BC-330C-4B2E-BAF6-50A66FD810EA}" presName="BalanceSpacing" presStyleCnt="0"/>
      <dgm:spPr/>
    </dgm:pt>
    <dgm:pt modelId="{232CB9BC-BF17-4AD3-B94A-31D906B8FF06}" type="pres">
      <dgm:prSet presAssocID="{045CF3BC-330C-4B2E-BAF6-50A66FD810EA}" presName="BalanceSpacing1" presStyleCnt="0"/>
      <dgm:spPr/>
    </dgm:pt>
    <dgm:pt modelId="{C318D11C-7DC1-4CAF-B029-7CE6E4779DFC}" type="pres">
      <dgm:prSet presAssocID="{EF2A6024-5B18-44BD-BFA6-D45D2A223A52}" presName="Accent1Text" presStyleLbl="node1" presStyleIdx="3" presStyleCnt="6"/>
      <dgm:spPr/>
      <dgm:t>
        <a:bodyPr/>
        <a:lstStyle/>
        <a:p>
          <a:endParaRPr lang="es-ES"/>
        </a:p>
      </dgm:t>
    </dgm:pt>
    <dgm:pt modelId="{1ADE1C4E-33B7-401C-A388-D26867552A2D}" type="pres">
      <dgm:prSet presAssocID="{EF2A6024-5B18-44BD-BFA6-D45D2A223A52}" presName="spaceBetweenRectangles" presStyleCnt="0"/>
      <dgm:spPr/>
    </dgm:pt>
    <dgm:pt modelId="{62BB6A20-1940-469F-B9F0-6F47D8C5E76B}" type="pres">
      <dgm:prSet presAssocID="{459DD929-678D-4C8B-8301-FC66C5334153}" presName="composite" presStyleCnt="0"/>
      <dgm:spPr/>
    </dgm:pt>
    <dgm:pt modelId="{14AC0F3D-6CE6-4D8A-992C-4B1D972AC45A}" type="pres">
      <dgm:prSet presAssocID="{459DD929-678D-4C8B-8301-FC66C5334153}" presName="Parent1" presStyleLbl="node1" presStyleIdx="4" presStyleCnt="6">
        <dgm:presLayoutVars>
          <dgm:chMax val="1"/>
          <dgm:chPref val="1"/>
          <dgm:bulletEnabled val="1"/>
        </dgm:presLayoutVars>
      </dgm:prSet>
      <dgm:spPr/>
      <dgm:t>
        <a:bodyPr/>
        <a:lstStyle/>
        <a:p>
          <a:endParaRPr lang="es-ES"/>
        </a:p>
      </dgm:t>
    </dgm:pt>
    <dgm:pt modelId="{4993B19B-2A03-49FB-8460-0AB6CDD86290}" type="pres">
      <dgm:prSet presAssocID="{459DD929-678D-4C8B-8301-FC66C5334153}" presName="Childtext1" presStyleLbl="revTx" presStyleIdx="2" presStyleCnt="3">
        <dgm:presLayoutVars>
          <dgm:chMax val="0"/>
          <dgm:chPref val="0"/>
          <dgm:bulletEnabled val="1"/>
        </dgm:presLayoutVars>
      </dgm:prSet>
      <dgm:spPr/>
    </dgm:pt>
    <dgm:pt modelId="{3F08A6F9-9FE9-461A-A045-3079684F33C5}" type="pres">
      <dgm:prSet presAssocID="{459DD929-678D-4C8B-8301-FC66C5334153}" presName="BalanceSpacing" presStyleCnt="0"/>
      <dgm:spPr/>
    </dgm:pt>
    <dgm:pt modelId="{932C735D-CB52-4DC6-B1E0-6CEEF9EF6800}" type="pres">
      <dgm:prSet presAssocID="{459DD929-678D-4C8B-8301-FC66C5334153}" presName="BalanceSpacing1" presStyleCnt="0"/>
      <dgm:spPr/>
    </dgm:pt>
    <dgm:pt modelId="{864B777C-C2D5-4817-BB95-D32D3676B1E8}" type="pres">
      <dgm:prSet presAssocID="{BC325183-03D5-413E-B976-C8365398C9B8}" presName="Accent1Text" presStyleLbl="node1" presStyleIdx="5" presStyleCnt="6"/>
      <dgm:spPr/>
      <dgm:t>
        <a:bodyPr/>
        <a:lstStyle/>
        <a:p>
          <a:endParaRPr lang="es-ES"/>
        </a:p>
      </dgm:t>
    </dgm:pt>
  </dgm:ptLst>
  <dgm:cxnLst>
    <dgm:cxn modelId="{F6A502C6-7007-4F9E-BA59-295A92666843}" type="presOf" srcId="{EF2A6024-5B18-44BD-BFA6-D45D2A223A52}" destId="{C318D11C-7DC1-4CAF-B029-7CE6E4779DFC}" srcOrd="0" destOrd="0" presId="urn:microsoft.com/office/officeart/2008/layout/AlternatingHexagons"/>
    <dgm:cxn modelId="{592E03F6-6196-4EB4-A428-E9454CCCDAD0}" srcId="{5ABA55A1-EE7D-47CC-9034-4DB9F1BDDEE6}" destId="{F02F1AE3-4E47-4513-8CFA-01845347665D}" srcOrd="0" destOrd="0" parTransId="{088D154E-8E96-4638-B611-FD78768C4CDB}" sibTransId="{DB2B6D94-4AB8-4999-85AC-D2C5EDA9A7A8}"/>
    <dgm:cxn modelId="{708A836C-E79D-46AC-9AE3-817E570C373B}" type="presOf" srcId="{90D7841A-234C-4C88-8DEF-228AB3E3F773}" destId="{1B13DCA2-E381-4F54-96B1-DE67FF499618}" srcOrd="0" destOrd="0" presId="urn:microsoft.com/office/officeart/2008/layout/AlternatingHexagons"/>
    <dgm:cxn modelId="{6DD425FC-2C75-41E9-AD34-D03474578B49}" type="presOf" srcId="{F02F1AE3-4E47-4513-8CFA-01845347665D}" destId="{046A0007-17F7-4D9E-A7ED-8341E2CDA560}" srcOrd="0" destOrd="0" presId="urn:microsoft.com/office/officeart/2008/layout/AlternatingHexagons"/>
    <dgm:cxn modelId="{F56C24D1-63E1-4350-BA81-7946D453FC71}" type="presOf" srcId="{BC325183-03D5-413E-B976-C8365398C9B8}" destId="{864B777C-C2D5-4817-BB95-D32D3676B1E8}" srcOrd="0" destOrd="0" presId="urn:microsoft.com/office/officeart/2008/layout/AlternatingHexagons"/>
    <dgm:cxn modelId="{629197BF-B53F-4712-9E5B-ED5E8DD276D0}" type="presOf" srcId="{045CF3BC-330C-4B2E-BAF6-50A66FD810EA}" destId="{179B3AA6-7F76-4858-BBC7-FFD311B325A4}" srcOrd="0" destOrd="0" presId="urn:microsoft.com/office/officeart/2008/layout/AlternatingHexagons"/>
    <dgm:cxn modelId="{52F29CA0-4A97-4807-891B-4312FFA9252C}" type="presOf" srcId="{EC5BD339-FA51-445F-8124-6C702910B98D}" destId="{4351FD17-EFD6-44D7-A4D2-E21EB4BF8C8A}" srcOrd="0" destOrd="0" presId="urn:microsoft.com/office/officeart/2008/layout/AlternatingHexagons"/>
    <dgm:cxn modelId="{BFB90F4C-FAD8-4B81-A0EA-87C6CE81B34B}" srcId="{90D7841A-234C-4C88-8DEF-228AB3E3F773}" destId="{5ABA55A1-EE7D-47CC-9034-4DB9F1BDDEE6}" srcOrd="0" destOrd="0" parTransId="{0D2103AE-DFBF-4F81-9C34-D176828E7CD6}" sibTransId="{EC5BD339-FA51-445F-8124-6C702910B98D}"/>
    <dgm:cxn modelId="{65304794-5ED1-4772-9081-B83E72594F47}" srcId="{90D7841A-234C-4C88-8DEF-228AB3E3F773}" destId="{459DD929-678D-4C8B-8301-FC66C5334153}" srcOrd="2" destOrd="0" parTransId="{D40086C7-EFFA-411A-A07A-D8A1EE0EFFAE}" sibTransId="{BC325183-03D5-413E-B976-C8365398C9B8}"/>
    <dgm:cxn modelId="{F73AB11B-A610-4A35-A196-35DC7E00A169}" srcId="{90D7841A-234C-4C88-8DEF-228AB3E3F773}" destId="{045CF3BC-330C-4B2E-BAF6-50A66FD810EA}" srcOrd="1" destOrd="0" parTransId="{E1D5B69A-5BC4-441E-85F8-4E7C8D46378D}" sibTransId="{EF2A6024-5B18-44BD-BFA6-D45D2A223A52}"/>
    <dgm:cxn modelId="{B84FA135-8A3B-4C9F-9749-A469E3B6DCB6}" type="presOf" srcId="{459DD929-678D-4C8B-8301-FC66C5334153}" destId="{14AC0F3D-6CE6-4D8A-992C-4B1D972AC45A}" srcOrd="0" destOrd="0" presId="urn:microsoft.com/office/officeart/2008/layout/AlternatingHexagons"/>
    <dgm:cxn modelId="{5762DC88-E5A3-4B8E-8143-86B521689CC0}" type="presOf" srcId="{5ABA55A1-EE7D-47CC-9034-4DB9F1BDDEE6}" destId="{21C65894-42F6-4E83-8D14-2476292AE9A9}" srcOrd="0" destOrd="0" presId="urn:microsoft.com/office/officeart/2008/layout/AlternatingHexagons"/>
    <dgm:cxn modelId="{88AB92CC-8036-4301-9D1E-2DABBDF46C06}" type="presParOf" srcId="{1B13DCA2-E381-4F54-96B1-DE67FF499618}" destId="{D8345E6C-DF92-4694-8654-1D4744888A66}" srcOrd="0" destOrd="0" presId="urn:microsoft.com/office/officeart/2008/layout/AlternatingHexagons"/>
    <dgm:cxn modelId="{3C0C445A-5AD9-4FF5-826A-AD51C440CCDA}" type="presParOf" srcId="{D8345E6C-DF92-4694-8654-1D4744888A66}" destId="{21C65894-42F6-4E83-8D14-2476292AE9A9}" srcOrd="0" destOrd="0" presId="urn:microsoft.com/office/officeart/2008/layout/AlternatingHexagons"/>
    <dgm:cxn modelId="{2152966E-7C9E-4DA9-9A5A-52A1A42E76E6}" type="presParOf" srcId="{D8345E6C-DF92-4694-8654-1D4744888A66}" destId="{046A0007-17F7-4D9E-A7ED-8341E2CDA560}" srcOrd="1" destOrd="0" presId="urn:microsoft.com/office/officeart/2008/layout/AlternatingHexagons"/>
    <dgm:cxn modelId="{187ADE2B-46A2-4C4A-A514-ED3507376ECC}" type="presParOf" srcId="{D8345E6C-DF92-4694-8654-1D4744888A66}" destId="{83F81A34-E5C2-4ADC-86BB-880E3153811B}" srcOrd="2" destOrd="0" presId="urn:microsoft.com/office/officeart/2008/layout/AlternatingHexagons"/>
    <dgm:cxn modelId="{00E73D13-5451-439A-96BB-66F2F731F0CB}" type="presParOf" srcId="{D8345E6C-DF92-4694-8654-1D4744888A66}" destId="{DF868A05-4091-4465-AA03-8C330FACD7B4}" srcOrd="3" destOrd="0" presId="urn:microsoft.com/office/officeart/2008/layout/AlternatingHexagons"/>
    <dgm:cxn modelId="{6680AFFA-0112-4984-AE6B-ED3F657EF393}" type="presParOf" srcId="{D8345E6C-DF92-4694-8654-1D4744888A66}" destId="{4351FD17-EFD6-44D7-A4D2-E21EB4BF8C8A}" srcOrd="4" destOrd="0" presId="urn:microsoft.com/office/officeart/2008/layout/AlternatingHexagons"/>
    <dgm:cxn modelId="{2ACD634C-59DE-43C0-BC25-859B13564FC4}" type="presParOf" srcId="{1B13DCA2-E381-4F54-96B1-DE67FF499618}" destId="{A5198426-174C-4F46-8741-D7643AACC1FF}" srcOrd="1" destOrd="0" presId="urn:microsoft.com/office/officeart/2008/layout/AlternatingHexagons"/>
    <dgm:cxn modelId="{FD6657E7-D804-4687-A995-87990C6A7F0A}" type="presParOf" srcId="{1B13DCA2-E381-4F54-96B1-DE67FF499618}" destId="{426CD07E-9B1D-43A5-B08D-B39D268169D4}" srcOrd="2" destOrd="0" presId="urn:microsoft.com/office/officeart/2008/layout/AlternatingHexagons"/>
    <dgm:cxn modelId="{2B654987-0338-44D6-927B-D7CA06339E92}" type="presParOf" srcId="{426CD07E-9B1D-43A5-B08D-B39D268169D4}" destId="{179B3AA6-7F76-4858-BBC7-FFD311B325A4}" srcOrd="0" destOrd="0" presId="urn:microsoft.com/office/officeart/2008/layout/AlternatingHexagons"/>
    <dgm:cxn modelId="{4FF19390-8317-45D5-B280-E127561AA33F}" type="presParOf" srcId="{426CD07E-9B1D-43A5-B08D-B39D268169D4}" destId="{7CC11109-575D-49A0-91B7-590C6BE598AB}" srcOrd="1" destOrd="0" presId="urn:microsoft.com/office/officeart/2008/layout/AlternatingHexagons"/>
    <dgm:cxn modelId="{18A5B1BE-408C-4322-A87F-7479C19BE188}" type="presParOf" srcId="{426CD07E-9B1D-43A5-B08D-B39D268169D4}" destId="{AEE9A41B-4885-430C-B553-FE87AF947C79}" srcOrd="2" destOrd="0" presId="urn:microsoft.com/office/officeart/2008/layout/AlternatingHexagons"/>
    <dgm:cxn modelId="{67669836-2812-42F7-BD4A-D1547548B722}" type="presParOf" srcId="{426CD07E-9B1D-43A5-B08D-B39D268169D4}" destId="{232CB9BC-BF17-4AD3-B94A-31D906B8FF06}" srcOrd="3" destOrd="0" presId="urn:microsoft.com/office/officeart/2008/layout/AlternatingHexagons"/>
    <dgm:cxn modelId="{4425FC36-464D-4555-B5A5-886D28B5B523}" type="presParOf" srcId="{426CD07E-9B1D-43A5-B08D-B39D268169D4}" destId="{C318D11C-7DC1-4CAF-B029-7CE6E4779DFC}" srcOrd="4" destOrd="0" presId="urn:microsoft.com/office/officeart/2008/layout/AlternatingHexagons"/>
    <dgm:cxn modelId="{37408A37-0EE0-4110-BFED-9544DCD5011A}" type="presParOf" srcId="{1B13DCA2-E381-4F54-96B1-DE67FF499618}" destId="{1ADE1C4E-33B7-401C-A388-D26867552A2D}" srcOrd="3" destOrd="0" presId="urn:microsoft.com/office/officeart/2008/layout/AlternatingHexagons"/>
    <dgm:cxn modelId="{BD7EDFF5-47B8-4EB2-8410-40697DBD3596}" type="presParOf" srcId="{1B13DCA2-E381-4F54-96B1-DE67FF499618}" destId="{62BB6A20-1940-469F-B9F0-6F47D8C5E76B}" srcOrd="4" destOrd="0" presId="urn:microsoft.com/office/officeart/2008/layout/AlternatingHexagons"/>
    <dgm:cxn modelId="{1231999C-787B-44E2-B51D-3262437A5EC1}" type="presParOf" srcId="{62BB6A20-1940-469F-B9F0-6F47D8C5E76B}" destId="{14AC0F3D-6CE6-4D8A-992C-4B1D972AC45A}" srcOrd="0" destOrd="0" presId="urn:microsoft.com/office/officeart/2008/layout/AlternatingHexagons"/>
    <dgm:cxn modelId="{C8811947-1D4E-4C5E-A7B5-8EC7734FF2E3}" type="presParOf" srcId="{62BB6A20-1940-469F-B9F0-6F47D8C5E76B}" destId="{4993B19B-2A03-49FB-8460-0AB6CDD86290}" srcOrd="1" destOrd="0" presId="urn:microsoft.com/office/officeart/2008/layout/AlternatingHexagons"/>
    <dgm:cxn modelId="{96CDD63C-3246-4C6E-A346-D6F213C1973E}" type="presParOf" srcId="{62BB6A20-1940-469F-B9F0-6F47D8C5E76B}" destId="{3F08A6F9-9FE9-461A-A045-3079684F33C5}" srcOrd="2" destOrd="0" presId="urn:microsoft.com/office/officeart/2008/layout/AlternatingHexagons"/>
    <dgm:cxn modelId="{E6B628C0-6BE5-4075-9031-B3270189326F}" type="presParOf" srcId="{62BB6A20-1940-469F-B9F0-6F47D8C5E76B}" destId="{932C735D-CB52-4DC6-B1E0-6CEEF9EF6800}" srcOrd="3" destOrd="0" presId="urn:microsoft.com/office/officeart/2008/layout/AlternatingHexagons"/>
    <dgm:cxn modelId="{2F07728D-2619-4C76-A860-5377A689506A}" type="presParOf" srcId="{62BB6A20-1940-469F-B9F0-6F47D8C5E76B}" destId="{864B777C-C2D5-4817-BB95-D32D3676B1E8}"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12399FF-DE5E-4CE9-93FC-82E239E56DBB}"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s-ES"/>
        </a:p>
      </dgm:t>
    </dgm:pt>
    <dgm:pt modelId="{D73B9B1B-B64A-419B-8EE5-B415055DE7F8}">
      <dgm:prSet custT="1">
        <dgm:style>
          <a:lnRef idx="2">
            <a:schemeClr val="accent6">
              <a:shade val="50000"/>
            </a:schemeClr>
          </a:lnRef>
          <a:fillRef idx="1">
            <a:schemeClr val="accent6"/>
          </a:fillRef>
          <a:effectRef idx="0">
            <a:schemeClr val="accent6"/>
          </a:effectRef>
          <a:fontRef idx="minor">
            <a:schemeClr val="lt1"/>
          </a:fontRef>
        </dgm:style>
      </dgm:prSet>
      <dgm:spPr/>
      <dgm:t>
        <a:bodyPr/>
        <a:lstStyle/>
        <a:p>
          <a:pPr rtl="0"/>
          <a:r>
            <a:rPr lang="es-ES" sz="1800" b="1" baseline="0" dirty="0" smtClean="0">
              <a:solidFill>
                <a:schemeClr val="tx1"/>
              </a:solidFill>
            </a:rPr>
            <a:t>Habitualmente, una unidad de código, en POO es un método.</a:t>
          </a:r>
          <a:endParaRPr lang="es-ES" sz="1800" b="1" dirty="0">
            <a:solidFill>
              <a:schemeClr val="tx1"/>
            </a:solidFill>
          </a:endParaRPr>
        </a:p>
      </dgm:t>
    </dgm:pt>
    <dgm:pt modelId="{D934D8A2-36DE-4DB9-89FA-C3488BD3C79E}" type="parTrans" cxnId="{53EBF189-689C-4F1B-B338-5E5E80758BD7}">
      <dgm:prSet/>
      <dgm:spPr/>
      <dgm:t>
        <a:bodyPr/>
        <a:lstStyle/>
        <a:p>
          <a:endParaRPr lang="es-ES" sz="1200" b="1"/>
        </a:p>
      </dgm:t>
    </dgm:pt>
    <dgm:pt modelId="{2E7D1922-8C13-4FD6-B4C2-AD5805F5494F}" type="sibTrans" cxnId="{53EBF189-689C-4F1B-B338-5E5E80758BD7}">
      <dgm:prSet/>
      <dgm:spPr/>
      <dgm:t>
        <a:bodyPr/>
        <a:lstStyle/>
        <a:p>
          <a:endParaRPr lang="es-ES" sz="1200" b="1"/>
        </a:p>
      </dgm:t>
    </dgm:pt>
    <dgm:pt modelId="{758AAB9A-DB31-4FC2-AFD8-597B32BA52FB}">
      <dgm:prSet custT="1">
        <dgm:style>
          <a:lnRef idx="2">
            <a:schemeClr val="accent6">
              <a:shade val="50000"/>
            </a:schemeClr>
          </a:lnRef>
          <a:fillRef idx="1">
            <a:schemeClr val="accent6"/>
          </a:fillRef>
          <a:effectRef idx="0">
            <a:schemeClr val="accent6"/>
          </a:effectRef>
          <a:fontRef idx="minor">
            <a:schemeClr val="lt1"/>
          </a:fontRef>
        </dgm:style>
      </dgm:prSet>
      <dgm:spPr/>
      <dgm:t>
        <a:bodyPr/>
        <a:lstStyle/>
        <a:p>
          <a:pPr rtl="0"/>
          <a:r>
            <a:rPr lang="es-ES" sz="1800" b="1" baseline="0" smtClean="0">
              <a:solidFill>
                <a:schemeClr val="tx1"/>
              </a:solidFill>
            </a:rPr>
            <a:t>Se escriben durante el proceso de desarrollo, por el propio desarrollador.</a:t>
          </a:r>
          <a:endParaRPr lang="es-ES" sz="1800" b="1">
            <a:solidFill>
              <a:schemeClr val="tx1"/>
            </a:solidFill>
          </a:endParaRPr>
        </a:p>
      </dgm:t>
    </dgm:pt>
    <dgm:pt modelId="{F40FB706-2B7A-4B1A-A8A0-EF45AB369462}" type="parTrans" cxnId="{3A44D2AD-FFE0-4E48-A355-A84F70BFC9A0}">
      <dgm:prSet/>
      <dgm:spPr/>
      <dgm:t>
        <a:bodyPr/>
        <a:lstStyle/>
        <a:p>
          <a:endParaRPr lang="es-ES" sz="1200" b="1"/>
        </a:p>
      </dgm:t>
    </dgm:pt>
    <dgm:pt modelId="{B28C4522-F234-4E82-B716-87D176ED93B1}" type="sibTrans" cxnId="{3A44D2AD-FFE0-4E48-A355-A84F70BFC9A0}">
      <dgm:prSet/>
      <dgm:spPr/>
      <dgm:t>
        <a:bodyPr/>
        <a:lstStyle/>
        <a:p>
          <a:endParaRPr lang="es-ES" sz="1200" b="1"/>
        </a:p>
      </dgm:t>
    </dgm:pt>
    <dgm:pt modelId="{55E0B59D-2B7F-4401-81B4-A96D79E74727}">
      <dgm:prSet custT="1">
        <dgm:style>
          <a:lnRef idx="2">
            <a:schemeClr val="accent6">
              <a:shade val="50000"/>
            </a:schemeClr>
          </a:lnRef>
          <a:fillRef idx="1">
            <a:schemeClr val="accent6"/>
          </a:fillRef>
          <a:effectRef idx="0">
            <a:schemeClr val="accent6"/>
          </a:effectRef>
          <a:fontRef idx="minor">
            <a:schemeClr val="lt1"/>
          </a:fontRef>
        </dgm:style>
      </dgm:prSet>
      <dgm:spPr/>
      <dgm:t>
        <a:bodyPr/>
        <a:lstStyle/>
        <a:p>
          <a:pPr rtl="0"/>
          <a:r>
            <a:rPr lang="es-ES" sz="1800" b="1" baseline="0" smtClean="0">
              <a:solidFill>
                <a:schemeClr val="tx1"/>
              </a:solidFill>
            </a:rPr>
            <a:t>Su ejecución y verificación suele ser automática, por lo que hablaríamos de pruebas unitarias automáticas</a:t>
          </a:r>
          <a:endParaRPr lang="es-ES" sz="1800" b="1">
            <a:solidFill>
              <a:schemeClr val="tx1"/>
            </a:solidFill>
          </a:endParaRPr>
        </a:p>
      </dgm:t>
    </dgm:pt>
    <dgm:pt modelId="{F895A0FF-8686-4B7A-810A-794AAB338549}" type="parTrans" cxnId="{BF5CD025-D673-412E-8036-178B34D289C8}">
      <dgm:prSet/>
      <dgm:spPr/>
      <dgm:t>
        <a:bodyPr/>
        <a:lstStyle/>
        <a:p>
          <a:endParaRPr lang="es-ES" sz="1200" b="1"/>
        </a:p>
      </dgm:t>
    </dgm:pt>
    <dgm:pt modelId="{EE67CABD-8A37-4C40-8611-8013F4FF9730}" type="sibTrans" cxnId="{BF5CD025-D673-412E-8036-178B34D289C8}">
      <dgm:prSet/>
      <dgm:spPr/>
      <dgm:t>
        <a:bodyPr/>
        <a:lstStyle/>
        <a:p>
          <a:endParaRPr lang="es-ES" sz="1200" b="1"/>
        </a:p>
      </dgm:t>
    </dgm:pt>
    <dgm:pt modelId="{158226FE-A214-4278-9F7D-908069AA4A07}" type="pres">
      <dgm:prSet presAssocID="{412399FF-DE5E-4CE9-93FC-82E239E56DBB}" presName="linear" presStyleCnt="0">
        <dgm:presLayoutVars>
          <dgm:animLvl val="lvl"/>
          <dgm:resizeHandles val="exact"/>
        </dgm:presLayoutVars>
      </dgm:prSet>
      <dgm:spPr/>
      <dgm:t>
        <a:bodyPr/>
        <a:lstStyle/>
        <a:p>
          <a:endParaRPr lang="es-ES"/>
        </a:p>
      </dgm:t>
    </dgm:pt>
    <dgm:pt modelId="{D88039E6-0588-4ACE-A420-6AE37328C0AA}" type="pres">
      <dgm:prSet presAssocID="{D73B9B1B-B64A-419B-8EE5-B415055DE7F8}" presName="parentText" presStyleLbl="node1" presStyleIdx="0" presStyleCnt="3">
        <dgm:presLayoutVars>
          <dgm:chMax val="0"/>
          <dgm:bulletEnabled val="1"/>
        </dgm:presLayoutVars>
      </dgm:prSet>
      <dgm:spPr/>
      <dgm:t>
        <a:bodyPr/>
        <a:lstStyle/>
        <a:p>
          <a:endParaRPr lang="es-ES"/>
        </a:p>
      </dgm:t>
    </dgm:pt>
    <dgm:pt modelId="{8539F6CD-E3E1-4E55-BAD2-D33323D0698B}" type="pres">
      <dgm:prSet presAssocID="{2E7D1922-8C13-4FD6-B4C2-AD5805F5494F}" presName="spacer" presStyleCnt="0"/>
      <dgm:spPr/>
    </dgm:pt>
    <dgm:pt modelId="{AE94C17C-8A9A-4C26-BF62-F6A5EA0CFA6F}" type="pres">
      <dgm:prSet presAssocID="{758AAB9A-DB31-4FC2-AFD8-597B32BA52FB}" presName="parentText" presStyleLbl="node1" presStyleIdx="1" presStyleCnt="3">
        <dgm:presLayoutVars>
          <dgm:chMax val="0"/>
          <dgm:bulletEnabled val="1"/>
        </dgm:presLayoutVars>
      </dgm:prSet>
      <dgm:spPr/>
      <dgm:t>
        <a:bodyPr/>
        <a:lstStyle/>
        <a:p>
          <a:endParaRPr lang="es-ES"/>
        </a:p>
      </dgm:t>
    </dgm:pt>
    <dgm:pt modelId="{3C30B560-DD2A-4844-A61B-717600B30203}" type="pres">
      <dgm:prSet presAssocID="{B28C4522-F234-4E82-B716-87D176ED93B1}" presName="spacer" presStyleCnt="0"/>
      <dgm:spPr/>
    </dgm:pt>
    <dgm:pt modelId="{E38304AC-ADB4-4223-8501-6B01AEEF30AC}" type="pres">
      <dgm:prSet presAssocID="{55E0B59D-2B7F-4401-81B4-A96D79E74727}" presName="parentText" presStyleLbl="node1" presStyleIdx="2" presStyleCnt="3">
        <dgm:presLayoutVars>
          <dgm:chMax val="0"/>
          <dgm:bulletEnabled val="1"/>
        </dgm:presLayoutVars>
      </dgm:prSet>
      <dgm:spPr/>
      <dgm:t>
        <a:bodyPr/>
        <a:lstStyle/>
        <a:p>
          <a:endParaRPr lang="es-ES"/>
        </a:p>
      </dgm:t>
    </dgm:pt>
  </dgm:ptLst>
  <dgm:cxnLst>
    <dgm:cxn modelId="{0370FD8D-E69D-483C-8E64-DE313F3DB863}" type="presOf" srcId="{758AAB9A-DB31-4FC2-AFD8-597B32BA52FB}" destId="{AE94C17C-8A9A-4C26-BF62-F6A5EA0CFA6F}" srcOrd="0" destOrd="0" presId="urn:microsoft.com/office/officeart/2005/8/layout/vList2"/>
    <dgm:cxn modelId="{53EBF189-689C-4F1B-B338-5E5E80758BD7}" srcId="{412399FF-DE5E-4CE9-93FC-82E239E56DBB}" destId="{D73B9B1B-B64A-419B-8EE5-B415055DE7F8}" srcOrd="0" destOrd="0" parTransId="{D934D8A2-36DE-4DB9-89FA-C3488BD3C79E}" sibTransId="{2E7D1922-8C13-4FD6-B4C2-AD5805F5494F}"/>
    <dgm:cxn modelId="{3A44D2AD-FFE0-4E48-A355-A84F70BFC9A0}" srcId="{412399FF-DE5E-4CE9-93FC-82E239E56DBB}" destId="{758AAB9A-DB31-4FC2-AFD8-597B32BA52FB}" srcOrd="1" destOrd="0" parTransId="{F40FB706-2B7A-4B1A-A8A0-EF45AB369462}" sibTransId="{B28C4522-F234-4E82-B716-87D176ED93B1}"/>
    <dgm:cxn modelId="{18C5B43E-4A66-4668-BBF0-9DF29E8E00E7}" type="presOf" srcId="{D73B9B1B-B64A-419B-8EE5-B415055DE7F8}" destId="{D88039E6-0588-4ACE-A420-6AE37328C0AA}" srcOrd="0" destOrd="0" presId="urn:microsoft.com/office/officeart/2005/8/layout/vList2"/>
    <dgm:cxn modelId="{E4A65B43-0257-4B11-B879-DA9E2686DD96}" type="presOf" srcId="{55E0B59D-2B7F-4401-81B4-A96D79E74727}" destId="{E38304AC-ADB4-4223-8501-6B01AEEF30AC}" srcOrd="0" destOrd="0" presId="urn:microsoft.com/office/officeart/2005/8/layout/vList2"/>
    <dgm:cxn modelId="{BF5CD025-D673-412E-8036-178B34D289C8}" srcId="{412399FF-DE5E-4CE9-93FC-82E239E56DBB}" destId="{55E0B59D-2B7F-4401-81B4-A96D79E74727}" srcOrd="2" destOrd="0" parTransId="{F895A0FF-8686-4B7A-810A-794AAB338549}" sibTransId="{EE67CABD-8A37-4C40-8611-8013F4FF9730}"/>
    <dgm:cxn modelId="{463C28ED-4EBE-4783-BFF6-D7BDF08EED14}" type="presOf" srcId="{412399FF-DE5E-4CE9-93FC-82E239E56DBB}" destId="{158226FE-A214-4278-9F7D-908069AA4A07}" srcOrd="0" destOrd="0" presId="urn:microsoft.com/office/officeart/2005/8/layout/vList2"/>
    <dgm:cxn modelId="{E5385907-B5CE-4976-B670-0EC08417A085}" type="presParOf" srcId="{158226FE-A214-4278-9F7D-908069AA4A07}" destId="{D88039E6-0588-4ACE-A420-6AE37328C0AA}" srcOrd="0" destOrd="0" presId="urn:microsoft.com/office/officeart/2005/8/layout/vList2"/>
    <dgm:cxn modelId="{9437F17C-3036-4A97-823B-20D8AF46481E}" type="presParOf" srcId="{158226FE-A214-4278-9F7D-908069AA4A07}" destId="{8539F6CD-E3E1-4E55-BAD2-D33323D0698B}" srcOrd="1" destOrd="0" presId="urn:microsoft.com/office/officeart/2005/8/layout/vList2"/>
    <dgm:cxn modelId="{C28B6B98-49A5-4C55-873C-06D1ED686259}" type="presParOf" srcId="{158226FE-A214-4278-9F7D-908069AA4A07}" destId="{AE94C17C-8A9A-4C26-BF62-F6A5EA0CFA6F}" srcOrd="2" destOrd="0" presId="urn:microsoft.com/office/officeart/2005/8/layout/vList2"/>
    <dgm:cxn modelId="{5FE89D81-DEBF-4BE9-8089-4A1F220E455D}" type="presParOf" srcId="{158226FE-A214-4278-9F7D-908069AA4A07}" destId="{3C30B560-DD2A-4844-A61B-717600B30203}" srcOrd="3" destOrd="0" presId="urn:microsoft.com/office/officeart/2005/8/layout/vList2"/>
    <dgm:cxn modelId="{EB3F0A2C-631D-48E4-9587-1D8A7059C34B}" type="presParOf" srcId="{158226FE-A214-4278-9F7D-908069AA4A07}" destId="{E38304AC-ADB4-4223-8501-6B01AEEF30AC}"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8769E87-A45F-4F24-A878-4D8F967ADE44}" type="doc">
      <dgm:prSet loTypeId="urn:microsoft.com/office/officeart/2005/8/layout/vList2" loCatId="list" qsTypeId="urn:microsoft.com/office/officeart/2005/8/quickstyle/simple1" qsCatId="simple" csTypeId="urn:microsoft.com/office/officeart/2005/8/colors/accent3_2" csCatId="accent3"/>
      <dgm:spPr/>
      <dgm:t>
        <a:bodyPr/>
        <a:lstStyle/>
        <a:p>
          <a:endParaRPr lang="es-ES"/>
        </a:p>
      </dgm:t>
    </dgm:pt>
    <dgm:pt modelId="{BD328FD7-4FF7-4249-9B65-84FA2F8133AA}">
      <dgm:prSet/>
      <dgm:spPr/>
      <dgm:t>
        <a:bodyPr/>
        <a:lstStyle/>
        <a:p>
          <a:pPr rtl="0"/>
          <a:r>
            <a:rPr lang="es-ES" smtClean="0"/>
            <a:t>Una </a:t>
          </a:r>
          <a:r>
            <a:rPr lang="es-ES" i="1" smtClean="0"/>
            <a:t>prueba unitaria </a:t>
          </a:r>
          <a:r>
            <a:rPr lang="es-ES" smtClean="0"/>
            <a:t>es una forma de comprobar el </a:t>
          </a:r>
          <a:r>
            <a:rPr lang="es-ES" b="1" smtClean="0"/>
            <a:t>correcto funcionamiento</a:t>
          </a:r>
          <a:r>
            <a:rPr lang="es-ES" smtClean="0"/>
            <a:t> de </a:t>
          </a:r>
          <a:r>
            <a:rPr lang="es-ES" b="1" smtClean="0"/>
            <a:t>una unidad de código</a:t>
          </a:r>
          <a:endParaRPr lang="es-ES"/>
        </a:p>
      </dgm:t>
    </dgm:pt>
    <dgm:pt modelId="{CE4259F4-5BA0-443E-BB58-35054D5FA9DC}" type="parTrans" cxnId="{40317629-756E-40D3-9949-A636A4182828}">
      <dgm:prSet/>
      <dgm:spPr/>
      <dgm:t>
        <a:bodyPr/>
        <a:lstStyle/>
        <a:p>
          <a:endParaRPr lang="es-ES"/>
        </a:p>
      </dgm:t>
    </dgm:pt>
    <dgm:pt modelId="{5B5FFE33-C005-4436-ABED-6BAD3CA79E2B}" type="sibTrans" cxnId="{40317629-756E-40D3-9949-A636A4182828}">
      <dgm:prSet/>
      <dgm:spPr/>
      <dgm:t>
        <a:bodyPr/>
        <a:lstStyle/>
        <a:p>
          <a:endParaRPr lang="es-ES"/>
        </a:p>
      </dgm:t>
    </dgm:pt>
    <dgm:pt modelId="{897A9BF6-25E6-458F-B5E2-F6B9FE549184}" type="pres">
      <dgm:prSet presAssocID="{58769E87-A45F-4F24-A878-4D8F967ADE44}" presName="linear" presStyleCnt="0">
        <dgm:presLayoutVars>
          <dgm:animLvl val="lvl"/>
          <dgm:resizeHandles val="exact"/>
        </dgm:presLayoutVars>
      </dgm:prSet>
      <dgm:spPr/>
      <dgm:t>
        <a:bodyPr/>
        <a:lstStyle/>
        <a:p>
          <a:endParaRPr lang="es-ES"/>
        </a:p>
      </dgm:t>
    </dgm:pt>
    <dgm:pt modelId="{734A1B3D-9BC5-4FBA-94BD-D7A5F8D54144}" type="pres">
      <dgm:prSet presAssocID="{BD328FD7-4FF7-4249-9B65-84FA2F8133AA}" presName="parentText" presStyleLbl="node1" presStyleIdx="0" presStyleCnt="1">
        <dgm:presLayoutVars>
          <dgm:chMax val="0"/>
          <dgm:bulletEnabled val="1"/>
        </dgm:presLayoutVars>
      </dgm:prSet>
      <dgm:spPr/>
      <dgm:t>
        <a:bodyPr/>
        <a:lstStyle/>
        <a:p>
          <a:endParaRPr lang="es-ES"/>
        </a:p>
      </dgm:t>
    </dgm:pt>
  </dgm:ptLst>
  <dgm:cxnLst>
    <dgm:cxn modelId="{8505B333-9CED-461A-B3F7-D0F44A75D064}" type="presOf" srcId="{58769E87-A45F-4F24-A878-4D8F967ADE44}" destId="{897A9BF6-25E6-458F-B5E2-F6B9FE549184}" srcOrd="0" destOrd="0" presId="urn:microsoft.com/office/officeart/2005/8/layout/vList2"/>
    <dgm:cxn modelId="{40317629-756E-40D3-9949-A636A4182828}" srcId="{58769E87-A45F-4F24-A878-4D8F967ADE44}" destId="{BD328FD7-4FF7-4249-9B65-84FA2F8133AA}" srcOrd="0" destOrd="0" parTransId="{CE4259F4-5BA0-443E-BB58-35054D5FA9DC}" sibTransId="{5B5FFE33-C005-4436-ABED-6BAD3CA79E2B}"/>
    <dgm:cxn modelId="{FC3CCF80-C007-4A4F-8D4B-15CE69510911}" type="presOf" srcId="{BD328FD7-4FF7-4249-9B65-84FA2F8133AA}" destId="{734A1B3D-9BC5-4FBA-94BD-D7A5F8D54144}" srcOrd="0" destOrd="0" presId="urn:microsoft.com/office/officeart/2005/8/layout/vList2"/>
    <dgm:cxn modelId="{2E9EAB3E-92A5-481E-B3A1-811F6B449F9F}" type="presParOf" srcId="{897A9BF6-25E6-458F-B5E2-F6B9FE549184}" destId="{734A1B3D-9BC5-4FBA-94BD-D7A5F8D54144}"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C287EE2-92FE-4381-9450-CC9E23F6039C}" type="doc">
      <dgm:prSet loTypeId="urn:microsoft.com/office/officeart/2005/8/layout/vList2" loCatId="list" qsTypeId="urn:microsoft.com/office/officeart/2005/8/quickstyle/simple1" qsCatId="simple" csTypeId="urn:microsoft.com/office/officeart/2005/8/colors/accent3_2" csCatId="accent3"/>
      <dgm:spPr/>
      <dgm:t>
        <a:bodyPr/>
        <a:lstStyle/>
        <a:p>
          <a:endParaRPr lang="es-ES"/>
        </a:p>
      </dgm:t>
    </dgm:pt>
    <dgm:pt modelId="{31F3D2C5-31E8-4240-ADFD-0D7E05E27D99}">
      <dgm:prSet/>
      <dgm:spPr/>
      <dgm:t>
        <a:bodyPr/>
        <a:lstStyle/>
        <a:p>
          <a:pPr rtl="0"/>
          <a:r>
            <a:rPr lang="es-ES" baseline="0" dirty="0" smtClean="0"/>
            <a:t>Programar con confianza</a:t>
          </a:r>
          <a:endParaRPr lang="es-ES" dirty="0"/>
        </a:p>
      </dgm:t>
    </dgm:pt>
    <dgm:pt modelId="{2F155B6F-9578-49FE-85C1-AA7BC937544E}" type="parTrans" cxnId="{29F3B744-EF09-4BB0-82FD-086DDEF1EE62}">
      <dgm:prSet/>
      <dgm:spPr/>
      <dgm:t>
        <a:bodyPr/>
        <a:lstStyle/>
        <a:p>
          <a:endParaRPr lang="es-ES"/>
        </a:p>
      </dgm:t>
    </dgm:pt>
    <dgm:pt modelId="{A70B4D02-A8E0-4C22-8EB4-F084EA820A80}" type="sibTrans" cxnId="{29F3B744-EF09-4BB0-82FD-086DDEF1EE62}">
      <dgm:prSet/>
      <dgm:spPr/>
      <dgm:t>
        <a:bodyPr/>
        <a:lstStyle/>
        <a:p>
          <a:endParaRPr lang="es-ES"/>
        </a:p>
      </dgm:t>
    </dgm:pt>
    <dgm:pt modelId="{AAE54F8E-7199-4099-BE15-1126E5C54A94}">
      <dgm:prSet/>
      <dgm:spPr/>
      <dgm:t>
        <a:bodyPr/>
        <a:lstStyle/>
        <a:p>
          <a:pPr rtl="0"/>
          <a:r>
            <a:rPr lang="es-ES" baseline="0" smtClean="0"/>
            <a:t>Saber si mi código hace lo que quiero que haga…</a:t>
          </a:r>
          <a:endParaRPr lang="es-ES"/>
        </a:p>
      </dgm:t>
    </dgm:pt>
    <dgm:pt modelId="{01B1F190-973D-4507-8D2E-10AFE2895092}" type="parTrans" cxnId="{2AD634B6-7D28-47E4-A87A-8805FBAFD675}">
      <dgm:prSet/>
      <dgm:spPr/>
      <dgm:t>
        <a:bodyPr/>
        <a:lstStyle/>
        <a:p>
          <a:endParaRPr lang="es-ES"/>
        </a:p>
      </dgm:t>
    </dgm:pt>
    <dgm:pt modelId="{9A1F7EE4-7BFF-4AC5-BCB7-E9293280A6BD}" type="sibTrans" cxnId="{2AD634B6-7D28-47E4-A87A-8805FBAFD675}">
      <dgm:prSet/>
      <dgm:spPr/>
      <dgm:t>
        <a:bodyPr/>
        <a:lstStyle/>
        <a:p>
          <a:endParaRPr lang="es-ES"/>
        </a:p>
      </dgm:t>
    </dgm:pt>
    <dgm:pt modelId="{9DC2F7B1-FB81-4D1C-B412-BE132B6BFD6E}">
      <dgm:prSet/>
      <dgm:spPr/>
      <dgm:t>
        <a:bodyPr/>
        <a:lstStyle/>
        <a:p>
          <a:pPr rtl="0"/>
          <a:r>
            <a:rPr lang="es-ES" baseline="0" smtClean="0"/>
            <a:t>…y si lo hace en cualquier situación</a:t>
          </a:r>
          <a:endParaRPr lang="es-ES"/>
        </a:p>
      </dgm:t>
    </dgm:pt>
    <dgm:pt modelId="{C605B5F4-5BE4-4BFD-A39C-F6D8D944A13E}" type="parTrans" cxnId="{8B9D3F30-B23F-4485-9C48-8680A917500E}">
      <dgm:prSet/>
      <dgm:spPr/>
      <dgm:t>
        <a:bodyPr/>
        <a:lstStyle/>
        <a:p>
          <a:endParaRPr lang="es-ES"/>
        </a:p>
      </dgm:t>
    </dgm:pt>
    <dgm:pt modelId="{81D211A6-A1E6-4256-9786-91ED8A4809E7}" type="sibTrans" cxnId="{8B9D3F30-B23F-4485-9C48-8680A917500E}">
      <dgm:prSet/>
      <dgm:spPr/>
      <dgm:t>
        <a:bodyPr/>
        <a:lstStyle/>
        <a:p>
          <a:endParaRPr lang="es-ES"/>
        </a:p>
      </dgm:t>
    </dgm:pt>
    <dgm:pt modelId="{A26CC37B-BCBA-46E6-A118-B3351E884F7D}">
      <dgm:prSet/>
      <dgm:spPr/>
      <dgm:t>
        <a:bodyPr/>
        <a:lstStyle/>
        <a:p>
          <a:pPr rtl="0"/>
          <a:r>
            <a:rPr lang="es-ES" baseline="0" smtClean="0"/>
            <a:t>Documentar mi código ¿...en serio...?</a:t>
          </a:r>
          <a:endParaRPr lang="es-ES"/>
        </a:p>
      </dgm:t>
    </dgm:pt>
    <dgm:pt modelId="{0F4B7345-0171-43F4-AB5A-5680BDD18FF0}" type="parTrans" cxnId="{8FA96166-8EAF-4154-B924-F974F7C84484}">
      <dgm:prSet/>
      <dgm:spPr/>
      <dgm:t>
        <a:bodyPr/>
        <a:lstStyle/>
        <a:p>
          <a:endParaRPr lang="es-ES"/>
        </a:p>
      </dgm:t>
    </dgm:pt>
    <dgm:pt modelId="{A17D6AD6-EEB6-46F3-9D02-FBA04FF42D51}" type="sibTrans" cxnId="{8FA96166-8EAF-4154-B924-F974F7C84484}">
      <dgm:prSet/>
      <dgm:spPr/>
      <dgm:t>
        <a:bodyPr/>
        <a:lstStyle/>
        <a:p>
          <a:endParaRPr lang="es-ES"/>
        </a:p>
      </dgm:t>
    </dgm:pt>
    <dgm:pt modelId="{8C945409-A593-4125-A558-2A1C4CBF4220}">
      <dgm:prSet/>
      <dgm:spPr/>
      <dgm:t>
        <a:bodyPr/>
        <a:lstStyle/>
        <a:p>
          <a:pPr rtl="0"/>
          <a:r>
            <a:rPr lang="es-ES" baseline="0" smtClean="0"/>
            <a:t>Incrementar la mantenibilidad del código y de la solución en general</a:t>
          </a:r>
          <a:endParaRPr lang="es-ES"/>
        </a:p>
      </dgm:t>
    </dgm:pt>
    <dgm:pt modelId="{3E7E3142-4052-46B3-B1DE-A76ABAA7ECFB}" type="parTrans" cxnId="{4D309073-DF82-495F-80C2-2E670AB541F4}">
      <dgm:prSet/>
      <dgm:spPr/>
      <dgm:t>
        <a:bodyPr/>
        <a:lstStyle/>
        <a:p>
          <a:endParaRPr lang="es-ES"/>
        </a:p>
      </dgm:t>
    </dgm:pt>
    <dgm:pt modelId="{E9EFD60E-73E4-4124-B5E7-CC6728F68A20}" type="sibTrans" cxnId="{4D309073-DF82-495F-80C2-2E670AB541F4}">
      <dgm:prSet/>
      <dgm:spPr/>
      <dgm:t>
        <a:bodyPr/>
        <a:lstStyle/>
        <a:p>
          <a:endParaRPr lang="es-ES"/>
        </a:p>
      </dgm:t>
    </dgm:pt>
    <dgm:pt modelId="{1741BC6C-63E3-41D1-AE53-4286F9D88B3F}">
      <dgm:prSet/>
      <dgm:spPr/>
      <dgm:t>
        <a:bodyPr/>
        <a:lstStyle/>
        <a:p>
          <a:pPr rtl="0"/>
          <a:r>
            <a:rPr lang="es-ES" baseline="0" smtClean="0"/>
            <a:t>Incrementar la calidad del código y de la arquitectura de la solución</a:t>
          </a:r>
          <a:endParaRPr lang="es-ES"/>
        </a:p>
      </dgm:t>
    </dgm:pt>
    <dgm:pt modelId="{35E28A53-1463-46AC-961D-85D3F0D980DD}" type="parTrans" cxnId="{E26374F6-3A18-40A5-B0E5-09093497CC7E}">
      <dgm:prSet/>
      <dgm:spPr/>
      <dgm:t>
        <a:bodyPr/>
        <a:lstStyle/>
        <a:p>
          <a:endParaRPr lang="es-ES"/>
        </a:p>
      </dgm:t>
    </dgm:pt>
    <dgm:pt modelId="{C3BC016B-D59F-42C8-A870-6E3BB8D7A2AA}" type="sibTrans" cxnId="{E26374F6-3A18-40A5-B0E5-09093497CC7E}">
      <dgm:prSet/>
      <dgm:spPr/>
      <dgm:t>
        <a:bodyPr/>
        <a:lstStyle/>
        <a:p>
          <a:endParaRPr lang="es-ES"/>
        </a:p>
      </dgm:t>
    </dgm:pt>
    <dgm:pt modelId="{A1095016-6CB4-43CA-85BD-AEEC6340B836}" type="pres">
      <dgm:prSet presAssocID="{9C287EE2-92FE-4381-9450-CC9E23F6039C}" presName="linear" presStyleCnt="0">
        <dgm:presLayoutVars>
          <dgm:animLvl val="lvl"/>
          <dgm:resizeHandles val="exact"/>
        </dgm:presLayoutVars>
      </dgm:prSet>
      <dgm:spPr/>
      <dgm:t>
        <a:bodyPr/>
        <a:lstStyle/>
        <a:p>
          <a:endParaRPr lang="es-ES"/>
        </a:p>
      </dgm:t>
    </dgm:pt>
    <dgm:pt modelId="{6E562442-7F01-4082-9CDE-3F671043AD86}" type="pres">
      <dgm:prSet presAssocID="{31F3D2C5-31E8-4240-ADFD-0D7E05E27D99}" presName="parentText" presStyleLbl="node1" presStyleIdx="0" presStyleCnt="6">
        <dgm:presLayoutVars>
          <dgm:chMax val="0"/>
          <dgm:bulletEnabled val="1"/>
        </dgm:presLayoutVars>
      </dgm:prSet>
      <dgm:spPr/>
      <dgm:t>
        <a:bodyPr/>
        <a:lstStyle/>
        <a:p>
          <a:endParaRPr lang="es-ES"/>
        </a:p>
      </dgm:t>
    </dgm:pt>
    <dgm:pt modelId="{A6F62896-0300-4017-A9D9-D69502D051E0}" type="pres">
      <dgm:prSet presAssocID="{A70B4D02-A8E0-4C22-8EB4-F084EA820A80}" presName="spacer" presStyleCnt="0"/>
      <dgm:spPr/>
    </dgm:pt>
    <dgm:pt modelId="{8F741DEA-75A9-421C-965C-209E3872AAE5}" type="pres">
      <dgm:prSet presAssocID="{AAE54F8E-7199-4099-BE15-1126E5C54A94}" presName="parentText" presStyleLbl="node1" presStyleIdx="1" presStyleCnt="6">
        <dgm:presLayoutVars>
          <dgm:chMax val="0"/>
          <dgm:bulletEnabled val="1"/>
        </dgm:presLayoutVars>
      </dgm:prSet>
      <dgm:spPr/>
      <dgm:t>
        <a:bodyPr/>
        <a:lstStyle/>
        <a:p>
          <a:endParaRPr lang="es-ES"/>
        </a:p>
      </dgm:t>
    </dgm:pt>
    <dgm:pt modelId="{18721A2C-495F-4942-89BD-9F9B0054C825}" type="pres">
      <dgm:prSet presAssocID="{9A1F7EE4-7BFF-4AC5-BCB7-E9293280A6BD}" presName="spacer" presStyleCnt="0"/>
      <dgm:spPr/>
    </dgm:pt>
    <dgm:pt modelId="{29170124-A748-47FD-B058-9147886B6900}" type="pres">
      <dgm:prSet presAssocID="{9DC2F7B1-FB81-4D1C-B412-BE132B6BFD6E}" presName="parentText" presStyleLbl="node1" presStyleIdx="2" presStyleCnt="6">
        <dgm:presLayoutVars>
          <dgm:chMax val="0"/>
          <dgm:bulletEnabled val="1"/>
        </dgm:presLayoutVars>
      </dgm:prSet>
      <dgm:spPr/>
      <dgm:t>
        <a:bodyPr/>
        <a:lstStyle/>
        <a:p>
          <a:endParaRPr lang="es-ES"/>
        </a:p>
      </dgm:t>
    </dgm:pt>
    <dgm:pt modelId="{A2C5458F-E2E7-4860-B3DA-396A3573F9EA}" type="pres">
      <dgm:prSet presAssocID="{81D211A6-A1E6-4256-9786-91ED8A4809E7}" presName="spacer" presStyleCnt="0"/>
      <dgm:spPr/>
    </dgm:pt>
    <dgm:pt modelId="{ADD13D07-7ED8-453F-A1C5-8DC269C50EFA}" type="pres">
      <dgm:prSet presAssocID="{A26CC37B-BCBA-46E6-A118-B3351E884F7D}" presName="parentText" presStyleLbl="node1" presStyleIdx="3" presStyleCnt="6">
        <dgm:presLayoutVars>
          <dgm:chMax val="0"/>
          <dgm:bulletEnabled val="1"/>
        </dgm:presLayoutVars>
      </dgm:prSet>
      <dgm:spPr/>
      <dgm:t>
        <a:bodyPr/>
        <a:lstStyle/>
        <a:p>
          <a:endParaRPr lang="es-ES"/>
        </a:p>
      </dgm:t>
    </dgm:pt>
    <dgm:pt modelId="{D3EF4428-FEE0-4B41-8BFA-86EF3B2F3D9A}" type="pres">
      <dgm:prSet presAssocID="{A17D6AD6-EEB6-46F3-9D02-FBA04FF42D51}" presName="spacer" presStyleCnt="0"/>
      <dgm:spPr/>
    </dgm:pt>
    <dgm:pt modelId="{EE1AD920-64EC-4F82-A5DB-95AE4DCCA71B}" type="pres">
      <dgm:prSet presAssocID="{8C945409-A593-4125-A558-2A1C4CBF4220}" presName="parentText" presStyleLbl="node1" presStyleIdx="4" presStyleCnt="6">
        <dgm:presLayoutVars>
          <dgm:chMax val="0"/>
          <dgm:bulletEnabled val="1"/>
        </dgm:presLayoutVars>
      </dgm:prSet>
      <dgm:spPr/>
      <dgm:t>
        <a:bodyPr/>
        <a:lstStyle/>
        <a:p>
          <a:endParaRPr lang="es-ES"/>
        </a:p>
      </dgm:t>
    </dgm:pt>
    <dgm:pt modelId="{63DD0EAC-28E1-45FE-A42D-A77A1485423D}" type="pres">
      <dgm:prSet presAssocID="{E9EFD60E-73E4-4124-B5E7-CC6728F68A20}" presName="spacer" presStyleCnt="0"/>
      <dgm:spPr/>
    </dgm:pt>
    <dgm:pt modelId="{98C66B79-4BAC-41A6-B9EB-E6DF62F5B2ED}" type="pres">
      <dgm:prSet presAssocID="{1741BC6C-63E3-41D1-AE53-4286F9D88B3F}" presName="parentText" presStyleLbl="node1" presStyleIdx="5" presStyleCnt="6">
        <dgm:presLayoutVars>
          <dgm:chMax val="0"/>
          <dgm:bulletEnabled val="1"/>
        </dgm:presLayoutVars>
      </dgm:prSet>
      <dgm:spPr/>
      <dgm:t>
        <a:bodyPr/>
        <a:lstStyle/>
        <a:p>
          <a:endParaRPr lang="es-ES"/>
        </a:p>
      </dgm:t>
    </dgm:pt>
  </dgm:ptLst>
  <dgm:cxnLst>
    <dgm:cxn modelId="{FDD591D7-C529-4BAE-BAAE-0EA54E031485}" type="presOf" srcId="{A26CC37B-BCBA-46E6-A118-B3351E884F7D}" destId="{ADD13D07-7ED8-453F-A1C5-8DC269C50EFA}" srcOrd="0" destOrd="0" presId="urn:microsoft.com/office/officeart/2005/8/layout/vList2"/>
    <dgm:cxn modelId="{C4130814-87C5-4F32-9971-0281C37689EE}" type="presOf" srcId="{9C287EE2-92FE-4381-9450-CC9E23F6039C}" destId="{A1095016-6CB4-43CA-85BD-AEEC6340B836}" srcOrd="0" destOrd="0" presId="urn:microsoft.com/office/officeart/2005/8/layout/vList2"/>
    <dgm:cxn modelId="{231F6FD9-3105-47A5-8615-31C9456021AC}" type="presOf" srcId="{1741BC6C-63E3-41D1-AE53-4286F9D88B3F}" destId="{98C66B79-4BAC-41A6-B9EB-E6DF62F5B2ED}" srcOrd="0" destOrd="0" presId="urn:microsoft.com/office/officeart/2005/8/layout/vList2"/>
    <dgm:cxn modelId="{8B9D3F30-B23F-4485-9C48-8680A917500E}" srcId="{9C287EE2-92FE-4381-9450-CC9E23F6039C}" destId="{9DC2F7B1-FB81-4D1C-B412-BE132B6BFD6E}" srcOrd="2" destOrd="0" parTransId="{C605B5F4-5BE4-4BFD-A39C-F6D8D944A13E}" sibTransId="{81D211A6-A1E6-4256-9786-91ED8A4809E7}"/>
    <dgm:cxn modelId="{B30B1B44-C619-4EA5-85FE-3352F11CB663}" type="presOf" srcId="{8C945409-A593-4125-A558-2A1C4CBF4220}" destId="{EE1AD920-64EC-4F82-A5DB-95AE4DCCA71B}" srcOrd="0" destOrd="0" presId="urn:microsoft.com/office/officeart/2005/8/layout/vList2"/>
    <dgm:cxn modelId="{49350E68-9F25-478C-A756-19CF1D0348EE}" type="presOf" srcId="{31F3D2C5-31E8-4240-ADFD-0D7E05E27D99}" destId="{6E562442-7F01-4082-9CDE-3F671043AD86}" srcOrd="0" destOrd="0" presId="urn:microsoft.com/office/officeart/2005/8/layout/vList2"/>
    <dgm:cxn modelId="{B750C530-A915-4FF8-87B4-3C7F1CDE2756}" type="presOf" srcId="{AAE54F8E-7199-4099-BE15-1126E5C54A94}" destId="{8F741DEA-75A9-421C-965C-209E3872AAE5}" srcOrd="0" destOrd="0" presId="urn:microsoft.com/office/officeart/2005/8/layout/vList2"/>
    <dgm:cxn modelId="{29F3B744-EF09-4BB0-82FD-086DDEF1EE62}" srcId="{9C287EE2-92FE-4381-9450-CC9E23F6039C}" destId="{31F3D2C5-31E8-4240-ADFD-0D7E05E27D99}" srcOrd="0" destOrd="0" parTransId="{2F155B6F-9578-49FE-85C1-AA7BC937544E}" sibTransId="{A70B4D02-A8E0-4C22-8EB4-F084EA820A80}"/>
    <dgm:cxn modelId="{E26374F6-3A18-40A5-B0E5-09093497CC7E}" srcId="{9C287EE2-92FE-4381-9450-CC9E23F6039C}" destId="{1741BC6C-63E3-41D1-AE53-4286F9D88B3F}" srcOrd="5" destOrd="0" parTransId="{35E28A53-1463-46AC-961D-85D3F0D980DD}" sibTransId="{C3BC016B-D59F-42C8-A870-6E3BB8D7A2AA}"/>
    <dgm:cxn modelId="{B6A3CD5E-8E3D-450A-A9F7-875886E6A5ED}" type="presOf" srcId="{9DC2F7B1-FB81-4D1C-B412-BE132B6BFD6E}" destId="{29170124-A748-47FD-B058-9147886B6900}" srcOrd="0" destOrd="0" presId="urn:microsoft.com/office/officeart/2005/8/layout/vList2"/>
    <dgm:cxn modelId="{8FA96166-8EAF-4154-B924-F974F7C84484}" srcId="{9C287EE2-92FE-4381-9450-CC9E23F6039C}" destId="{A26CC37B-BCBA-46E6-A118-B3351E884F7D}" srcOrd="3" destOrd="0" parTransId="{0F4B7345-0171-43F4-AB5A-5680BDD18FF0}" sibTransId="{A17D6AD6-EEB6-46F3-9D02-FBA04FF42D51}"/>
    <dgm:cxn modelId="{4D309073-DF82-495F-80C2-2E670AB541F4}" srcId="{9C287EE2-92FE-4381-9450-CC9E23F6039C}" destId="{8C945409-A593-4125-A558-2A1C4CBF4220}" srcOrd="4" destOrd="0" parTransId="{3E7E3142-4052-46B3-B1DE-A76ABAA7ECFB}" sibTransId="{E9EFD60E-73E4-4124-B5E7-CC6728F68A20}"/>
    <dgm:cxn modelId="{2AD634B6-7D28-47E4-A87A-8805FBAFD675}" srcId="{9C287EE2-92FE-4381-9450-CC9E23F6039C}" destId="{AAE54F8E-7199-4099-BE15-1126E5C54A94}" srcOrd="1" destOrd="0" parTransId="{01B1F190-973D-4507-8D2E-10AFE2895092}" sibTransId="{9A1F7EE4-7BFF-4AC5-BCB7-E9293280A6BD}"/>
    <dgm:cxn modelId="{755DC7BB-8B8E-4229-9F38-E5A20E41BA6D}" type="presParOf" srcId="{A1095016-6CB4-43CA-85BD-AEEC6340B836}" destId="{6E562442-7F01-4082-9CDE-3F671043AD86}" srcOrd="0" destOrd="0" presId="urn:microsoft.com/office/officeart/2005/8/layout/vList2"/>
    <dgm:cxn modelId="{9C5848AE-B844-4D69-ABD7-99010094F68C}" type="presParOf" srcId="{A1095016-6CB4-43CA-85BD-AEEC6340B836}" destId="{A6F62896-0300-4017-A9D9-D69502D051E0}" srcOrd="1" destOrd="0" presId="urn:microsoft.com/office/officeart/2005/8/layout/vList2"/>
    <dgm:cxn modelId="{EAB5E70B-B1AC-4CFE-8F94-C6C5DFBD9C72}" type="presParOf" srcId="{A1095016-6CB4-43CA-85BD-AEEC6340B836}" destId="{8F741DEA-75A9-421C-965C-209E3872AAE5}" srcOrd="2" destOrd="0" presId="urn:microsoft.com/office/officeart/2005/8/layout/vList2"/>
    <dgm:cxn modelId="{E5AE45E8-A755-4B69-948E-5A916C970F8F}" type="presParOf" srcId="{A1095016-6CB4-43CA-85BD-AEEC6340B836}" destId="{18721A2C-495F-4942-89BD-9F9B0054C825}" srcOrd="3" destOrd="0" presId="urn:microsoft.com/office/officeart/2005/8/layout/vList2"/>
    <dgm:cxn modelId="{167F0F0A-4F71-4CBF-A2EA-1AF6CAFD48A4}" type="presParOf" srcId="{A1095016-6CB4-43CA-85BD-AEEC6340B836}" destId="{29170124-A748-47FD-B058-9147886B6900}" srcOrd="4" destOrd="0" presId="urn:microsoft.com/office/officeart/2005/8/layout/vList2"/>
    <dgm:cxn modelId="{31AE2D49-E2A1-4439-A3B6-F312D90DF0DE}" type="presParOf" srcId="{A1095016-6CB4-43CA-85BD-AEEC6340B836}" destId="{A2C5458F-E2E7-4860-B3DA-396A3573F9EA}" srcOrd="5" destOrd="0" presId="urn:microsoft.com/office/officeart/2005/8/layout/vList2"/>
    <dgm:cxn modelId="{07D7BF2D-0603-44F3-BA39-BAAA8937DC03}" type="presParOf" srcId="{A1095016-6CB4-43CA-85BD-AEEC6340B836}" destId="{ADD13D07-7ED8-453F-A1C5-8DC269C50EFA}" srcOrd="6" destOrd="0" presId="urn:microsoft.com/office/officeart/2005/8/layout/vList2"/>
    <dgm:cxn modelId="{60200D53-0CCD-450F-83D8-8FA2C497BF8D}" type="presParOf" srcId="{A1095016-6CB4-43CA-85BD-AEEC6340B836}" destId="{D3EF4428-FEE0-4B41-8BFA-86EF3B2F3D9A}" srcOrd="7" destOrd="0" presId="urn:microsoft.com/office/officeart/2005/8/layout/vList2"/>
    <dgm:cxn modelId="{522B4EEB-0B36-44DC-B64E-7DEA6501FD1C}" type="presParOf" srcId="{A1095016-6CB4-43CA-85BD-AEEC6340B836}" destId="{EE1AD920-64EC-4F82-A5DB-95AE4DCCA71B}" srcOrd="8" destOrd="0" presId="urn:microsoft.com/office/officeart/2005/8/layout/vList2"/>
    <dgm:cxn modelId="{2C71BD85-4F08-4E5A-9529-4824347DAA84}" type="presParOf" srcId="{A1095016-6CB4-43CA-85BD-AEEC6340B836}" destId="{63DD0EAC-28E1-45FE-A42D-A77A1485423D}" srcOrd="9" destOrd="0" presId="urn:microsoft.com/office/officeart/2005/8/layout/vList2"/>
    <dgm:cxn modelId="{D1F8B3EF-06D1-4F32-97EB-312CC0FDF4E7}" type="presParOf" srcId="{A1095016-6CB4-43CA-85BD-AEEC6340B836}" destId="{98C66B79-4BAC-41A6-B9EB-E6DF62F5B2ED}"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ACCB320-267C-4F80-B400-9EB31ED82C00}"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s-ES"/>
        </a:p>
      </dgm:t>
    </dgm:pt>
    <dgm:pt modelId="{66609E4D-F1CD-4311-A68C-9F23A4DF8400}">
      <dgm:prSet/>
      <dgm:spPr/>
      <dgm:t>
        <a:bodyPr/>
        <a:lstStyle/>
        <a:p>
          <a:pPr rtl="0"/>
          <a:r>
            <a:rPr lang="es-ES" dirty="0" smtClean="0"/>
            <a:t>Desde el mismo entorno de desarrollo, con un </a:t>
          </a:r>
          <a:r>
            <a:rPr lang="es-ES" dirty="0" err="1" smtClean="0"/>
            <a:t>framework</a:t>
          </a:r>
          <a:r>
            <a:rPr lang="es-ES" dirty="0" smtClean="0"/>
            <a:t> de automatización de pruebas (</a:t>
          </a:r>
          <a:r>
            <a:rPr lang="es-ES" dirty="0" err="1" smtClean="0"/>
            <a:t>MSTests</a:t>
          </a:r>
          <a:r>
            <a:rPr lang="es-ES" dirty="0" smtClean="0"/>
            <a:t>, </a:t>
          </a:r>
          <a:r>
            <a:rPr lang="es-ES" dirty="0" err="1" smtClean="0"/>
            <a:t>NUnit</a:t>
          </a:r>
          <a:r>
            <a:rPr lang="es-ES" dirty="0" smtClean="0"/>
            <a:t>, </a:t>
          </a:r>
          <a:r>
            <a:rPr lang="es-ES" dirty="0" err="1" smtClean="0"/>
            <a:t>XUnit</a:t>
          </a:r>
          <a:r>
            <a:rPr lang="es-ES" dirty="0" smtClean="0"/>
            <a:t>, …)</a:t>
          </a:r>
          <a:endParaRPr lang="es-ES" dirty="0"/>
        </a:p>
      </dgm:t>
    </dgm:pt>
    <dgm:pt modelId="{B1C9E43F-7196-45DB-ABCE-7272B9F1C837}" type="parTrans" cxnId="{92EDB1F1-AA82-4C11-B5DB-572F286E1543}">
      <dgm:prSet/>
      <dgm:spPr/>
      <dgm:t>
        <a:bodyPr/>
        <a:lstStyle/>
        <a:p>
          <a:endParaRPr lang="es-ES"/>
        </a:p>
      </dgm:t>
    </dgm:pt>
    <dgm:pt modelId="{CBEF2082-E338-4CD4-A8CD-C5228EF0FA7A}" type="sibTrans" cxnId="{92EDB1F1-AA82-4C11-B5DB-572F286E1543}">
      <dgm:prSet/>
      <dgm:spPr/>
      <dgm:t>
        <a:bodyPr/>
        <a:lstStyle/>
        <a:p>
          <a:endParaRPr lang="es-ES"/>
        </a:p>
      </dgm:t>
    </dgm:pt>
    <dgm:pt modelId="{E00A5C00-9753-4FC6-A8C4-25FD4B45B846}">
      <dgm:prSet/>
      <dgm:spPr/>
      <dgm:t>
        <a:bodyPr/>
        <a:lstStyle/>
        <a:p>
          <a:pPr rtl="0"/>
          <a:r>
            <a:rPr lang="es-ES" smtClean="0"/>
            <a:t>Con la ayuda de algunas técnicas y frameworks para el desarrollo de pruebas unitarias automáticas</a:t>
          </a:r>
          <a:endParaRPr lang="es-ES"/>
        </a:p>
      </dgm:t>
    </dgm:pt>
    <dgm:pt modelId="{8EDE2CA8-DD76-475C-A01E-8624D5CB917D}" type="parTrans" cxnId="{82EE15D1-F4F4-482C-AB0B-30AF0E8FC624}">
      <dgm:prSet/>
      <dgm:spPr/>
      <dgm:t>
        <a:bodyPr/>
        <a:lstStyle/>
        <a:p>
          <a:endParaRPr lang="es-ES"/>
        </a:p>
      </dgm:t>
    </dgm:pt>
    <dgm:pt modelId="{C806EE63-08EC-4D1D-AD1F-7BE5781D7CD8}" type="sibTrans" cxnId="{82EE15D1-F4F4-482C-AB0B-30AF0E8FC624}">
      <dgm:prSet/>
      <dgm:spPr/>
      <dgm:t>
        <a:bodyPr/>
        <a:lstStyle/>
        <a:p>
          <a:endParaRPr lang="es-ES"/>
        </a:p>
      </dgm:t>
    </dgm:pt>
    <dgm:pt modelId="{FD227866-16BC-448C-8F72-6D9D2E5AC6D9}" type="pres">
      <dgm:prSet presAssocID="{4ACCB320-267C-4F80-B400-9EB31ED82C00}" presName="linear" presStyleCnt="0">
        <dgm:presLayoutVars>
          <dgm:animLvl val="lvl"/>
          <dgm:resizeHandles val="exact"/>
        </dgm:presLayoutVars>
      </dgm:prSet>
      <dgm:spPr/>
      <dgm:t>
        <a:bodyPr/>
        <a:lstStyle/>
        <a:p>
          <a:endParaRPr lang="es-ES"/>
        </a:p>
      </dgm:t>
    </dgm:pt>
    <dgm:pt modelId="{CC9925DD-5A59-4F7F-BA2E-3C7C6381A4A5}" type="pres">
      <dgm:prSet presAssocID="{66609E4D-F1CD-4311-A68C-9F23A4DF8400}" presName="parentText" presStyleLbl="node1" presStyleIdx="0" presStyleCnt="2">
        <dgm:presLayoutVars>
          <dgm:chMax val="0"/>
          <dgm:bulletEnabled val="1"/>
        </dgm:presLayoutVars>
      </dgm:prSet>
      <dgm:spPr/>
      <dgm:t>
        <a:bodyPr/>
        <a:lstStyle/>
        <a:p>
          <a:endParaRPr lang="es-ES"/>
        </a:p>
      </dgm:t>
    </dgm:pt>
    <dgm:pt modelId="{F7377CAB-7D00-46CA-BDDA-22FC494E5A0B}" type="pres">
      <dgm:prSet presAssocID="{CBEF2082-E338-4CD4-A8CD-C5228EF0FA7A}" presName="spacer" presStyleCnt="0"/>
      <dgm:spPr/>
    </dgm:pt>
    <dgm:pt modelId="{5C9D83C3-411D-4F07-A4F0-2D48C1CE58F9}" type="pres">
      <dgm:prSet presAssocID="{E00A5C00-9753-4FC6-A8C4-25FD4B45B846}" presName="parentText" presStyleLbl="node1" presStyleIdx="1" presStyleCnt="2">
        <dgm:presLayoutVars>
          <dgm:chMax val="0"/>
          <dgm:bulletEnabled val="1"/>
        </dgm:presLayoutVars>
      </dgm:prSet>
      <dgm:spPr/>
      <dgm:t>
        <a:bodyPr/>
        <a:lstStyle/>
        <a:p>
          <a:endParaRPr lang="es-ES"/>
        </a:p>
      </dgm:t>
    </dgm:pt>
  </dgm:ptLst>
  <dgm:cxnLst>
    <dgm:cxn modelId="{92EDB1F1-AA82-4C11-B5DB-572F286E1543}" srcId="{4ACCB320-267C-4F80-B400-9EB31ED82C00}" destId="{66609E4D-F1CD-4311-A68C-9F23A4DF8400}" srcOrd="0" destOrd="0" parTransId="{B1C9E43F-7196-45DB-ABCE-7272B9F1C837}" sibTransId="{CBEF2082-E338-4CD4-A8CD-C5228EF0FA7A}"/>
    <dgm:cxn modelId="{EA58CC15-1C21-485E-A875-14F573559A6F}" type="presOf" srcId="{4ACCB320-267C-4F80-B400-9EB31ED82C00}" destId="{FD227866-16BC-448C-8F72-6D9D2E5AC6D9}" srcOrd="0" destOrd="0" presId="urn:microsoft.com/office/officeart/2005/8/layout/vList2"/>
    <dgm:cxn modelId="{82EE15D1-F4F4-482C-AB0B-30AF0E8FC624}" srcId="{4ACCB320-267C-4F80-B400-9EB31ED82C00}" destId="{E00A5C00-9753-4FC6-A8C4-25FD4B45B846}" srcOrd="1" destOrd="0" parTransId="{8EDE2CA8-DD76-475C-A01E-8624D5CB917D}" sibTransId="{C806EE63-08EC-4D1D-AD1F-7BE5781D7CD8}"/>
    <dgm:cxn modelId="{8223D0CC-F28D-42FE-9421-E6E997206ECA}" type="presOf" srcId="{66609E4D-F1CD-4311-A68C-9F23A4DF8400}" destId="{CC9925DD-5A59-4F7F-BA2E-3C7C6381A4A5}" srcOrd="0" destOrd="0" presId="urn:microsoft.com/office/officeart/2005/8/layout/vList2"/>
    <dgm:cxn modelId="{EF86A204-2071-497E-84E8-9595A6DB0067}" type="presOf" srcId="{E00A5C00-9753-4FC6-A8C4-25FD4B45B846}" destId="{5C9D83C3-411D-4F07-A4F0-2D48C1CE58F9}" srcOrd="0" destOrd="0" presId="urn:microsoft.com/office/officeart/2005/8/layout/vList2"/>
    <dgm:cxn modelId="{A7D422BC-6E15-44DA-823A-F9DA234AF7FD}" type="presParOf" srcId="{FD227866-16BC-448C-8F72-6D9D2E5AC6D9}" destId="{CC9925DD-5A59-4F7F-BA2E-3C7C6381A4A5}" srcOrd="0" destOrd="0" presId="urn:microsoft.com/office/officeart/2005/8/layout/vList2"/>
    <dgm:cxn modelId="{AB889026-66A5-437B-827D-6F8F0FDAF85B}" type="presParOf" srcId="{FD227866-16BC-448C-8F72-6D9D2E5AC6D9}" destId="{F7377CAB-7D00-46CA-BDDA-22FC494E5A0B}" srcOrd="1" destOrd="0" presId="urn:microsoft.com/office/officeart/2005/8/layout/vList2"/>
    <dgm:cxn modelId="{9AB01FEB-C09E-4BB5-A9B2-8109592A7AC2}" type="presParOf" srcId="{FD227866-16BC-448C-8F72-6D9D2E5AC6D9}" destId="{5C9D83C3-411D-4F07-A4F0-2D48C1CE58F9}"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EDC7120-23E8-4356-817A-16355B849B32}"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s-ES"/>
        </a:p>
      </dgm:t>
    </dgm:pt>
    <dgm:pt modelId="{0284AC08-9241-4A17-9F68-80F4E6ECD533}">
      <dgm:prSet phldrT="[Texto]"/>
      <dgm:spPr/>
      <dgm:t>
        <a:bodyPr/>
        <a:lstStyle/>
        <a:p>
          <a:pPr rtl="0"/>
          <a:r>
            <a:rPr lang="es-ES" smtClean="0"/>
            <a:t>La regla de la 3 A’s</a:t>
          </a:r>
          <a:endParaRPr lang="es-ES" dirty="0"/>
        </a:p>
      </dgm:t>
    </dgm:pt>
    <dgm:pt modelId="{F0556367-4FA7-4CE1-8521-CD83D50BF87B}" type="parTrans" cxnId="{5C6AA302-3D7D-4334-92FE-49185FBC33C6}">
      <dgm:prSet/>
      <dgm:spPr/>
      <dgm:t>
        <a:bodyPr/>
        <a:lstStyle/>
        <a:p>
          <a:endParaRPr lang="es-ES"/>
        </a:p>
      </dgm:t>
    </dgm:pt>
    <dgm:pt modelId="{E7D6E69E-BE91-4449-BD48-1FED6A193C4F}" type="sibTrans" cxnId="{5C6AA302-3D7D-4334-92FE-49185FBC33C6}">
      <dgm:prSet/>
      <dgm:spPr/>
      <dgm:t>
        <a:bodyPr/>
        <a:lstStyle/>
        <a:p>
          <a:endParaRPr lang="es-ES"/>
        </a:p>
      </dgm:t>
    </dgm:pt>
    <dgm:pt modelId="{B1A0B766-9DDC-42FB-BAF0-EAB034A17295}">
      <dgm:prSet/>
      <dgm:spPr/>
      <dgm:t>
        <a:bodyPr/>
        <a:lstStyle/>
        <a:p>
          <a:pPr rtl="0"/>
          <a:r>
            <a:rPr lang="es-ES" dirty="0" err="1" smtClean="0"/>
            <a:t>Mocking</a:t>
          </a:r>
          <a:endParaRPr lang="es-ES" dirty="0"/>
        </a:p>
      </dgm:t>
    </dgm:pt>
    <dgm:pt modelId="{3484E67A-47B4-4EC6-AC5C-281233EA8634}" type="parTrans" cxnId="{33AA68A6-CBEF-4ED7-B149-D05FDD19BE71}">
      <dgm:prSet/>
      <dgm:spPr/>
      <dgm:t>
        <a:bodyPr/>
        <a:lstStyle/>
        <a:p>
          <a:endParaRPr lang="es-ES"/>
        </a:p>
      </dgm:t>
    </dgm:pt>
    <dgm:pt modelId="{0D99260F-3596-497E-9205-C9F84B2D236B}" type="sibTrans" cxnId="{33AA68A6-CBEF-4ED7-B149-D05FDD19BE71}">
      <dgm:prSet/>
      <dgm:spPr/>
      <dgm:t>
        <a:bodyPr/>
        <a:lstStyle/>
        <a:p>
          <a:endParaRPr lang="es-ES"/>
        </a:p>
      </dgm:t>
    </dgm:pt>
    <dgm:pt modelId="{45547E21-6E0B-406A-9470-CA26074CD45A}">
      <dgm:prSet/>
      <dgm:spPr/>
      <dgm:t>
        <a:bodyPr/>
        <a:lstStyle/>
        <a:p>
          <a:pPr rtl="0"/>
          <a:r>
            <a:rPr lang="es-ES" smtClean="0"/>
            <a:t>…</a:t>
          </a:r>
          <a:endParaRPr lang="es-ES" dirty="0"/>
        </a:p>
      </dgm:t>
    </dgm:pt>
    <dgm:pt modelId="{63C84937-3778-49B4-A03D-31CAD07B9D0A}" type="parTrans" cxnId="{0F44E7C6-ABBC-42C2-B423-CF6010B234F0}">
      <dgm:prSet/>
      <dgm:spPr/>
      <dgm:t>
        <a:bodyPr/>
        <a:lstStyle/>
        <a:p>
          <a:endParaRPr lang="es-ES"/>
        </a:p>
      </dgm:t>
    </dgm:pt>
    <dgm:pt modelId="{F2E836D5-3D50-47D6-9868-B6467455B6A0}" type="sibTrans" cxnId="{0F44E7C6-ABBC-42C2-B423-CF6010B234F0}">
      <dgm:prSet/>
      <dgm:spPr/>
      <dgm:t>
        <a:bodyPr/>
        <a:lstStyle/>
        <a:p>
          <a:endParaRPr lang="es-ES"/>
        </a:p>
      </dgm:t>
    </dgm:pt>
    <dgm:pt modelId="{7A5BEF3B-497F-4A05-95FD-E38D8A57EF87}" type="pres">
      <dgm:prSet presAssocID="{6EDC7120-23E8-4356-817A-16355B849B32}" presName="diagram" presStyleCnt="0">
        <dgm:presLayoutVars>
          <dgm:dir/>
          <dgm:resizeHandles val="exact"/>
        </dgm:presLayoutVars>
      </dgm:prSet>
      <dgm:spPr/>
      <dgm:t>
        <a:bodyPr/>
        <a:lstStyle/>
        <a:p>
          <a:endParaRPr lang="es-ES"/>
        </a:p>
      </dgm:t>
    </dgm:pt>
    <dgm:pt modelId="{086971BA-D121-4114-B19C-136EE4AF956C}" type="pres">
      <dgm:prSet presAssocID="{0284AC08-9241-4A17-9F68-80F4E6ECD533}" presName="node" presStyleLbl="node1" presStyleIdx="0" presStyleCnt="3">
        <dgm:presLayoutVars>
          <dgm:bulletEnabled val="1"/>
        </dgm:presLayoutVars>
      </dgm:prSet>
      <dgm:spPr/>
      <dgm:t>
        <a:bodyPr/>
        <a:lstStyle/>
        <a:p>
          <a:endParaRPr lang="es-ES"/>
        </a:p>
      </dgm:t>
    </dgm:pt>
    <dgm:pt modelId="{E3FFDC3C-1452-4B74-8D1B-C8841E345724}" type="pres">
      <dgm:prSet presAssocID="{E7D6E69E-BE91-4449-BD48-1FED6A193C4F}" presName="sibTrans" presStyleCnt="0"/>
      <dgm:spPr/>
    </dgm:pt>
    <dgm:pt modelId="{994FF828-7A58-469E-98A1-5B2C6FE753C5}" type="pres">
      <dgm:prSet presAssocID="{B1A0B766-9DDC-42FB-BAF0-EAB034A17295}" presName="node" presStyleLbl="node1" presStyleIdx="1" presStyleCnt="3">
        <dgm:presLayoutVars>
          <dgm:bulletEnabled val="1"/>
        </dgm:presLayoutVars>
      </dgm:prSet>
      <dgm:spPr/>
      <dgm:t>
        <a:bodyPr/>
        <a:lstStyle/>
        <a:p>
          <a:endParaRPr lang="es-ES"/>
        </a:p>
      </dgm:t>
    </dgm:pt>
    <dgm:pt modelId="{438E7307-63FD-4A76-A159-F07DB19A81EA}" type="pres">
      <dgm:prSet presAssocID="{0D99260F-3596-497E-9205-C9F84B2D236B}" presName="sibTrans" presStyleCnt="0"/>
      <dgm:spPr/>
    </dgm:pt>
    <dgm:pt modelId="{768B5EA6-EE7B-4FAF-81C3-3168BC6F9D54}" type="pres">
      <dgm:prSet presAssocID="{45547E21-6E0B-406A-9470-CA26074CD45A}" presName="node" presStyleLbl="node1" presStyleIdx="2" presStyleCnt="3">
        <dgm:presLayoutVars>
          <dgm:bulletEnabled val="1"/>
        </dgm:presLayoutVars>
      </dgm:prSet>
      <dgm:spPr/>
      <dgm:t>
        <a:bodyPr/>
        <a:lstStyle/>
        <a:p>
          <a:endParaRPr lang="es-ES"/>
        </a:p>
      </dgm:t>
    </dgm:pt>
  </dgm:ptLst>
  <dgm:cxnLst>
    <dgm:cxn modelId="{723B2A91-F992-41FE-B9DF-40092336B962}" type="presOf" srcId="{6EDC7120-23E8-4356-817A-16355B849B32}" destId="{7A5BEF3B-497F-4A05-95FD-E38D8A57EF87}" srcOrd="0" destOrd="0" presId="urn:microsoft.com/office/officeart/2005/8/layout/default"/>
    <dgm:cxn modelId="{A9706F29-CEF8-4B7B-BC2B-E1A33C286988}" type="presOf" srcId="{45547E21-6E0B-406A-9470-CA26074CD45A}" destId="{768B5EA6-EE7B-4FAF-81C3-3168BC6F9D54}" srcOrd="0" destOrd="0" presId="urn:microsoft.com/office/officeart/2005/8/layout/default"/>
    <dgm:cxn modelId="{2906E04C-D153-4738-9D00-AE9AFC2A5B68}" type="presOf" srcId="{0284AC08-9241-4A17-9F68-80F4E6ECD533}" destId="{086971BA-D121-4114-B19C-136EE4AF956C}" srcOrd="0" destOrd="0" presId="urn:microsoft.com/office/officeart/2005/8/layout/default"/>
    <dgm:cxn modelId="{33AA68A6-CBEF-4ED7-B149-D05FDD19BE71}" srcId="{6EDC7120-23E8-4356-817A-16355B849B32}" destId="{B1A0B766-9DDC-42FB-BAF0-EAB034A17295}" srcOrd="1" destOrd="0" parTransId="{3484E67A-47B4-4EC6-AC5C-281233EA8634}" sibTransId="{0D99260F-3596-497E-9205-C9F84B2D236B}"/>
    <dgm:cxn modelId="{5C6AA302-3D7D-4334-92FE-49185FBC33C6}" srcId="{6EDC7120-23E8-4356-817A-16355B849B32}" destId="{0284AC08-9241-4A17-9F68-80F4E6ECD533}" srcOrd="0" destOrd="0" parTransId="{F0556367-4FA7-4CE1-8521-CD83D50BF87B}" sibTransId="{E7D6E69E-BE91-4449-BD48-1FED6A193C4F}"/>
    <dgm:cxn modelId="{34AF8A54-8B30-4E54-9FBA-AC9364700485}" type="presOf" srcId="{B1A0B766-9DDC-42FB-BAF0-EAB034A17295}" destId="{994FF828-7A58-469E-98A1-5B2C6FE753C5}" srcOrd="0" destOrd="0" presId="urn:microsoft.com/office/officeart/2005/8/layout/default"/>
    <dgm:cxn modelId="{0F44E7C6-ABBC-42C2-B423-CF6010B234F0}" srcId="{6EDC7120-23E8-4356-817A-16355B849B32}" destId="{45547E21-6E0B-406A-9470-CA26074CD45A}" srcOrd="2" destOrd="0" parTransId="{63C84937-3778-49B4-A03D-31CAD07B9D0A}" sibTransId="{F2E836D5-3D50-47D6-9868-B6467455B6A0}"/>
    <dgm:cxn modelId="{DB70B20A-C8A4-4F47-89C7-A7C4630E02A9}" type="presParOf" srcId="{7A5BEF3B-497F-4A05-95FD-E38D8A57EF87}" destId="{086971BA-D121-4114-B19C-136EE4AF956C}" srcOrd="0" destOrd="0" presId="urn:microsoft.com/office/officeart/2005/8/layout/default"/>
    <dgm:cxn modelId="{4095B1E2-66B9-4591-B81A-32AB2BEF2D63}" type="presParOf" srcId="{7A5BEF3B-497F-4A05-95FD-E38D8A57EF87}" destId="{E3FFDC3C-1452-4B74-8D1B-C8841E345724}" srcOrd="1" destOrd="0" presId="urn:microsoft.com/office/officeart/2005/8/layout/default"/>
    <dgm:cxn modelId="{1A8B5F67-3467-4B2B-81EC-8D17F99BCB71}" type="presParOf" srcId="{7A5BEF3B-497F-4A05-95FD-E38D8A57EF87}" destId="{994FF828-7A58-469E-98A1-5B2C6FE753C5}" srcOrd="2" destOrd="0" presId="urn:microsoft.com/office/officeart/2005/8/layout/default"/>
    <dgm:cxn modelId="{E7225CBA-10DC-4F7D-A2CF-777713A68073}" type="presParOf" srcId="{7A5BEF3B-497F-4A05-95FD-E38D8A57EF87}" destId="{438E7307-63FD-4A76-A159-F07DB19A81EA}" srcOrd="3" destOrd="0" presId="urn:microsoft.com/office/officeart/2005/8/layout/default"/>
    <dgm:cxn modelId="{59B1ED41-F05B-4417-9B15-B11E9B24DC0E}" type="presParOf" srcId="{7A5BEF3B-497F-4A05-95FD-E38D8A57EF87}" destId="{768B5EA6-EE7B-4FAF-81C3-3168BC6F9D54}" srcOrd="4"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1F7B1A7-C12A-4D2B-BFCC-1F2845E83881}"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s-ES"/>
        </a:p>
      </dgm:t>
    </dgm:pt>
    <dgm:pt modelId="{C1CC54D8-DE3C-4329-88F3-58D36F0A5AEA}">
      <dgm:prSet/>
      <dgm:spPr/>
      <dgm:t>
        <a:bodyPr/>
        <a:lstStyle/>
        <a:p>
          <a:pPr rtl="0"/>
          <a:r>
            <a:rPr lang="es-ES" baseline="0" dirty="0" smtClean="0"/>
            <a:t>Probar unitariamente nuestro código no debería ser una imposición, sino una herramienta de desarrollo.</a:t>
          </a:r>
          <a:endParaRPr lang="es-ES" dirty="0"/>
        </a:p>
      </dgm:t>
    </dgm:pt>
    <dgm:pt modelId="{3D7B3C87-A401-4FC6-A922-E7CFEB0D30D4}" type="parTrans" cxnId="{F2A99DF2-3269-4591-8242-B8D4DF307B97}">
      <dgm:prSet/>
      <dgm:spPr/>
      <dgm:t>
        <a:bodyPr/>
        <a:lstStyle/>
        <a:p>
          <a:endParaRPr lang="es-ES"/>
        </a:p>
      </dgm:t>
    </dgm:pt>
    <dgm:pt modelId="{275907E5-A535-4F11-8301-080320FF8907}" type="sibTrans" cxnId="{F2A99DF2-3269-4591-8242-B8D4DF307B97}">
      <dgm:prSet/>
      <dgm:spPr/>
      <dgm:t>
        <a:bodyPr/>
        <a:lstStyle/>
        <a:p>
          <a:endParaRPr lang="es-ES"/>
        </a:p>
      </dgm:t>
    </dgm:pt>
    <dgm:pt modelId="{F81DC34E-3299-4733-AD88-72827081B4F1}">
      <dgm:prSet/>
      <dgm:spPr/>
      <dgm:t>
        <a:bodyPr/>
        <a:lstStyle/>
        <a:p>
          <a:pPr rtl="0"/>
          <a:r>
            <a:rPr lang="es-ES" baseline="0" dirty="0" smtClean="0"/>
            <a:t>Escribir pruebas unitarias y alcanzar una cobertura adecuada de nuestro código no tiene (o no debería tener) un coste mayor que no hacerlo.</a:t>
          </a:r>
          <a:endParaRPr lang="es-ES" dirty="0"/>
        </a:p>
      </dgm:t>
    </dgm:pt>
    <dgm:pt modelId="{5B5E339B-B956-4B6C-A798-D234748A4C15}" type="parTrans" cxnId="{8B9A9F25-D4DC-46C5-A8EE-699D3B4C3E0F}">
      <dgm:prSet/>
      <dgm:spPr/>
      <dgm:t>
        <a:bodyPr/>
        <a:lstStyle/>
        <a:p>
          <a:endParaRPr lang="es-ES"/>
        </a:p>
      </dgm:t>
    </dgm:pt>
    <dgm:pt modelId="{A9D6812A-B52E-4653-B7A3-C5FFD8382D26}" type="sibTrans" cxnId="{8B9A9F25-D4DC-46C5-A8EE-699D3B4C3E0F}">
      <dgm:prSet/>
      <dgm:spPr/>
      <dgm:t>
        <a:bodyPr/>
        <a:lstStyle/>
        <a:p>
          <a:endParaRPr lang="es-ES"/>
        </a:p>
      </dgm:t>
    </dgm:pt>
    <dgm:pt modelId="{AED9BE83-6146-4D88-B582-0D8F02C512E7}" type="pres">
      <dgm:prSet presAssocID="{31F7B1A7-C12A-4D2B-BFCC-1F2845E83881}" presName="linear" presStyleCnt="0">
        <dgm:presLayoutVars>
          <dgm:animLvl val="lvl"/>
          <dgm:resizeHandles val="exact"/>
        </dgm:presLayoutVars>
      </dgm:prSet>
      <dgm:spPr/>
      <dgm:t>
        <a:bodyPr/>
        <a:lstStyle/>
        <a:p>
          <a:endParaRPr lang="es-ES"/>
        </a:p>
      </dgm:t>
    </dgm:pt>
    <dgm:pt modelId="{723CC8AA-A470-418D-B700-246553441128}" type="pres">
      <dgm:prSet presAssocID="{C1CC54D8-DE3C-4329-88F3-58D36F0A5AEA}" presName="parentText" presStyleLbl="node1" presStyleIdx="0" presStyleCnt="2">
        <dgm:presLayoutVars>
          <dgm:chMax val="0"/>
          <dgm:bulletEnabled val="1"/>
        </dgm:presLayoutVars>
      </dgm:prSet>
      <dgm:spPr/>
      <dgm:t>
        <a:bodyPr/>
        <a:lstStyle/>
        <a:p>
          <a:endParaRPr lang="es-ES"/>
        </a:p>
      </dgm:t>
    </dgm:pt>
    <dgm:pt modelId="{64685ED9-D150-49D1-AB3F-0060D7DA1A9C}" type="pres">
      <dgm:prSet presAssocID="{275907E5-A535-4F11-8301-080320FF8907}" presName="spacer" presStyleCnt="0"/>
      <dgm:spPr/>
    </dgm:pt>
    <dgm:pt modelId="{16265125-ED33-453A-82BD-3AA1C8D593F3}" type="pres">
      <dgm:prSet presAssocID="{F81DC34E-3299-4733-AD88-72827081B4F1}" presName="parentText" presStyleLbl="node1" presStyleIdx="1" presStyleCnt="2">
        <dgm:presLayoutVars>
          <dgm:chMax val="0"/>
          <dgm:bulletEnabled val="1"/>
        </dgm:presLayoutVars>
      </dgm:prSet>
      <dgm:spPr/>
      <dgm:t>
        <a:bodyPr/>
        <a:lstStyle/>
        <a:p>
          <a:endParaRPr lang="es-ES"/>
        </a:p>
      </dgm:t>
    </dgm:pt>
  </dgm:ptLst>
  <dgm:cxnLst>
    <dgm:cxn modelId="{8B9A9F25-D4DC-46C5-A8EE-699D3B4C3E0F}" srcId="{31F7B1A7-C12A-4D2B-BFCC-1F2845E83881}" destId="{F81DC34E-3299-4733-AD88-72827081B4F1}" srcOrd="1" destOrd="0" parTransId="{5B5E339B-B956-4B6C-A798-D234748A4C15}" sibTransId="{A9D6812A-B52E-4653-B7A3-C5FFD8382D26}"/>
    <dgm:cxn modelId="{5D04CA10-EAF2-451D-A567-DCCE9BF686B3}" type="presOf" srcId="{C1CC54D8-DE3C-4329-88F3-58D36F0A5AEA}" destId="{723CC8AA-A470-418D-B700-246553441128}" srcOrd="0" destOrd="0" presId="urn:microsoft.com/office/officeart/2005/8/layout/vList2"/>
    <dgm:cxn modelId="{F2A99DF2-3269-4591-8242-B8D4DF307B97}" srcId="{31F7B1A7-C12A-4D2B-BFCC-1F2845E83881}" destId="{C1CC54D8-DE3C-4329-88F3-58D36F0A5AEA}" srcOrd="0" destOrd="0" parTransId="{3D7B3C87-A401-4FC6-A922-E7CFEB0D30D4}" sibTransId="{275907E5-A535-4F11-8301-080320FF8907}"/>
    <dgm:cxn modelId="{502DDB0D-4832-46E9-AD58-4234001405F9}" type="presOf" srcId="{F81DC34E-3299-4733-AD88-72827081B4F1}" destId="{16265125-ED33-453A-82BD-3AA1C8D593F3}" srcOrd="0" destOrd="0" presId="urn:microsoft.com/office/officeart/2005/8/layout/vList2"/>
    <dgm:cxn modelId="{73B27FEE-90ED-4DEF-B909-CB70398DABE6}" type="presOf" srcId="{31F7B1A7-C12A-4D2B-BFCC-1F2845E83881}" destId="{AED9BE83-6146-4D88-B582-0D8F02C512E7}" srcOrd="0" destOrd="0" presId="urn:microsoft.com/office/officeart/2005/8/layout/vList2"/>
    <dgm:cxn modelId="{B0703AE7-1AD6-4AD6-B537-F2CD23DE7301}" type="presParOf" srcId="{AED9BE83-6146-4D88-B582-0D8F02C512E7}" destId="{723CC8AA-A470-418D-B700-246553441128}" srcOrd="0" destOrd="0" presId="urn:microsoft.com/office/officeart/2005/8/layout/vList2"/>
    <dgm:cxn modelId="{B831E905-AFC3-48D0-ACD6-81F86CE66BA0}" type="presParOf" srcId="{AED9BE83-6146-4D88-B582-0D8F02C512E7}" destId="{64685ED9-D150-49D1-AB3F-0060D7DA1A9C}" srcOrd="1" destOrd="0" presId="urn:microsoft.com/office/officeart/2005/8/layout/vList2"/>
    <dgm:cxn modelId="{536EFFD3-FB40-4B73-82B8-DD181CA09468}" type="presParOf" srcId="{AED9BE83-6146-4D88-B582-0D8F02C512E7}" destId="{16265125-ED33-453A-82BD-3AA1C8D593F3}"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BFB52F8-DF2E-41D9-9A99-9DEC9587FE01}"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s-ES"/>
        </a:p>
      </dgm:t>
    </dgm:pt>
    <dgm:pt modelId="{7D167A96-48A3-4D70-83F0-89581F9630D3}">
      <dgm:prSet phldrT="[Texto]"/>
      <dgm:spPr/>
      <dgm:t>
        <a:bodyPr/>
        <a:lstStyle/>
        <a:p>
          <a:pPr algn="ctr"/>
          <a:r>
            <a:rPr lang="es-ES" b="1" dirty="0" smtClean="0"/>
            <a:t>Automáticas</a:t>
          </a:r>
          <a:endParaRPr lang="es-ES" b="1" dirty="0"/>
        </a:p>
      </dgm:t>
    </dgm:pt>
    <dgm:pt modelId="{22FF7967-354B-474A-AA7E-02C0AF7CA087}" type="parTrans" cxnId="{ABBAA72F-9DE2-49E0-870C-6A569AF504BC}">
      <dgm:prSet/>
      <dgm:spPr/>
      <dgm:t>
        <a:bodyPr/>
        <a:lstStyle/>
        <a:p>
          <a:pPr algn="ctr"/>
          <a:endParaRPr lang="es-ES" b="1"/>
        </a:p>
      </dgm:t>
    </dgm:pt>
    <dgm:pt modelId="{596BC897-7CAD-4278-A3A0-DF0F3CF7C789}" type="sibTrans" cxnId="{ABBAA72F-9DE2-49E0-870C-6A569AF504BC}">
      <dgm:prSet/>
      <dgm:spPr/>
      <dgm:t>
        <a:bodyPr/>
        <a:lstStyle/>
        <a:p>
          <a:pPr algn="ctr"/>
          <a:endParaRPr lang="es-ES" b="1"/>
        </a:p>
      </dgm:t>
    </dgm:pt>
    <dgm:pt modelId="{841A6E9C-C8E4-4087-8C91-4A637E2F8C1B}">
      <dgm:prSet/>
      <dgm:spPr/>
      <dgm:t>
        <a:bodyPr/>
        <a:lstStyle/>
        <a:p>
          <a:pPr algn="ctr"/>
          <a:r>
            <a:rPr lang="es-ES" b="1" dirty="0" smtClean="0"/>
            <a:t>Meticulosas</a:t>
          </a:r>
          <a:endParaRPr lang="es-ES" b="1" dirty="0"/>
        </a:p>
      </dgm:t>
    </dgm:pt>
    <dgm:pt modelId="{2E89F20F-3D4F-4481-B836-EC4427C8E3BE}" type="parTrans" cxnId="{F019D81A-06D4-47C2-9B88-A37E0855AE46}">
      <dgm:prSet/>
      <dgm:spPr/>
      <dgm:t>
        <a:bodyPr/>
        <a:lstStyle/>
        <a:p>
          <a:pPr algn="ctr"/>
          <a:endParaRPr lang="es-ES" b="1"/>
        </a:p>
      </dgm:t>
    </dgm:pt>
    <dgm:pt modelId="{B4E724D9-5266-4609-931A-6D0A7ECCE6D8}" type="sibTrans" cxnId="{F019D81A-06D4-47C2-9B88-A37E0855AE46}">
      <dgm:prSet/>
      <dgm:spPr/>
      <dgm:t>
        <a:bodyPr/>
        <a:lstStyle/>
        <a:p>
          <a:pPr algn="ctr"/>
          <a:endParaRPr lang="es-ES" b="1"/>
        </a:p>
      </dgm:t>
    </dgm:pt>
    <dgm:pt modelId="{75015F65-F9AA-4389-A899-BCC1FA09A7C3}">
      <dgm:prSet/>
      <dgm:spPr/>
      <dgm:t>
        <a:bodyPr/>
        <a:lstStyle/>
        <a:p>
          <a:pPr algn="ctr"/>
          <a:r>
            <a:rPr lang="es-ES" b="1" dirty="0" smtClean="0"/>
            <a:t>Repetibles</a:t>
          </a:r>
          <a:endParaRPr lang="es-ES" b="1" dirty="0"/>
        </a:p>
      </dgm:t>
    </dgm:pt>
    <dgm:pt modelId="{688FFC17-20C5-436B-BA7E-0F9F5AB8C0A9}" type="parTrans" cxnId="{18D1D8B4-DCDC-48BC-BB28-95A5405EBBB1}">
      <dgm:prSet/>
      <dgm:spPr/>
      <dgm:t>
        <a:bodyPr/>
        <a:lstStyle/>
        <a:p>
          <a:pPr algn="ctr"/>
          <a:endParaRPr lang="es-ES" b="1"/>
        </a:p>
      </dgm:t>
    </dgm:pt>
    <dgm:pt modelId="{E9D5DACE-A6A4-4023-B548-075A46A1E9A6}" type="sibTrans" cxnId="{18D1D8B4-DCDC-48BC-BB28-95A5405EBBB1}">
      <dgm:prSet/>
      <dgm:spPr/>
      <dgm:t>
        <a:bodyPr/>
        <a:lstStyle/>
        <a:p>
          <a:pPr algn="ctr"/>
          <a:endParaRPr lang="es-ES" b="1"/>
        </a:p>
      </dgm:t>
    </dgm:pt>
    <dgm:pt modelId="{9B10B0DC-E84C-4502-8BF0-1A5A1CF8EEC0}">
      <dgm:prSet/>
      <dgm:spPr/>
      <dgm:t>
        <a:bodyPr/>
        <a:lstStyle/>
        <a:p>
          <a:pPr algn="ctr"/>
          <a:r>
            <a:rPr lang="es-ES" b="1" dirty="0" smtClean="0"/>
            <a:t>Independientes</a:t>
          </a:r>
          <a:endParaRPr lang="es-ES" b="1" dirty="0"/>
        </a:p>
      </dgm:t>
    </dgm:pt>
    <dgm:pt modelId="{38D11F73-45DB-4523-807D-51BD5802C25F}" type="parTrans" cxnId="{04AC996D-CAED-4D6B-B0C9-BD37A17AB2E7}">
      <dgm:prSet/>
      <dgm:spPr/>
      <dgm:t>
        <a:bodyPr/>
        <a:lstStyle/>
        <a:p>
          <a:pPr algn="ctr"/>
          <a:endParaRPr lang="es-ES" b="1"/>
        </a:p>
      </dgm:t>
    </dgm:pt>
    <dgm:pt modelId="{F335385C-7A9D-4890-9CBF-5EE00E7A6083}" type="sibTrans" cxnId="{04AC996D-CAED-4D6B-B0C9-BD37A17AB2E7}">
      <dgm:prSet/>
      <dgm:spPr/>
      <dgm:t>
        <a:bodyPr/>
        <a:lstStyle/>
        <a:p>
          <a:pPr algn="ctr"/>
          <a:endParaRPr lang="es-ES" b="1"/>
        </a:p>
      </dgm:t>
    </dgm:pt>
    <dgm:pt modelId="{7862BFBF-28B0-4466-A3B2-9429D5BF0056}">
      <dgm:prSet/>
      <dgm:spPr/>
      <dgm:t>
        <a:bodyPr/>
        <a:lstStyle/>
        <a:p>
          <a:pPr algn="ctr"/>
          <a:r>
            <a:rPr lang="es-ES" b="1" dirty="0" smtClean="0"/>
            <a:t>Profesionales</a:t>
          </a:r>
          <a:endParaRPr lang="es-ES" b="1" dirty="0"/>
        </a:p>
      </dgm:t>
    </dgm:pt>
    <dgm:pt modelId="{BA632116-2ECA-4687-9C65-23DCDBCFE744}" type="parTrans" cxnId="{A0B758CA-6A0A-4834-9B06-02AE91AEE707}">
      <dgm:prSet/>
      <dgm:spPr/>
      <dgm:t>
        <a:bodyPr/>
        <a:lstStyle/>
        <a:p>
          <a:pPr algn="ctr"/>
          <a:endParaRPr lang="es-ES" b="1"/>
        </a:p>
      </dgm:t>
    </dgm:pt>
    <dgm:pt modelId="{69EB4A44-5DA6-4C1B-9A87-22D0AA90D1B9}" type="sibTrans" cxnId="{A0B758CA-6A0A-4834-9B06-02AE91AEE707}">
      <dgm:prSet/>
      <dgm:spPr/>
      <dgm:t>
        <a:bodyPr/>
        <a:lstStyle/>
        <a:p>
          <a:pPr algn="ctr"/>
          <a:endParaRPr lang="es-ES" b="1"/>
        </a:p>
      </dgm:t>
    </dgm:pt>
    <dgm:pt modelId="{5C93C0FF-4244-4F0F-9F8A-B39CD75E8F0B}" type="pres">
      <dgm:prSet presAssocID="{7BFB52F8-DF2E-41D9-9A99-9DEC9587FE01}" presName="linear" presStyleCnt="0">
        <dgm:presLayoutVars>
          <dgm:animLvl val="lvl"/>
          <dgm:resizeHandles val="exact"/>
        </dgm:presLayoutVars>
      </dgm:prSet>
      <dgm:spPr/>
      <dgm:t>
        <a:bodyPr/>
        <a:lstStyle/>
        <a:p>
          <a:endParaRPr lang="es-ES"/>
        </a:p>
      </dgm:t>
    </dgm:pt>
    <dgm:pt modelId="{BC2F1C18-FF56-4AC9-914B-CA82C07153C9}" type="pres">
      <dgm:prSet presAssocID="{7D167A96-48A3-4D70-83F0-89581F9630D3}" presName="parentText" presStyleLbl="node1" presStyleIdx="0" presStyleCnt="5">
        <dgm:presLayoutVars>
          <dgm:chMax val="0"/>
          <dgm:bulletEnabled val="1"/>
        </dgm:presLayoutVars>
      </dgm:prSet>
      <dgm:spPr/>
      <dgm:t>
        <a:bodyPr/>
        <a:lstStyle/>
        <a:p>
          <a:endParaRPr lang="es-ES"/>
        </a:p>
      </dgm:t>
    </dgm:pt>
    <dgm:pt modelId="{3AC73424-9E00-4556-BE97-7AFF4D702354}" type="pres">
      <dgm:prSet presAssocID="{596BC897-7CAD-4278-A3A0-DF0F3CF7C789}" presName="spacer" presStyleCnt="0"/>
      <dgm:spPr/>
    </dgm:pt>
    <dgm:pt modelId="{14513C6C-FE06-4A95-8072-833FCBDD6238}" type="pres">
      <dgm:prSet presAssocID="{841A6E9C-C8E4-4087-8C91-4A637E2F8C1B}" presName="parentText" presStyleLbl="node1" presStyleIdx="1" presStyleCnt="5">
        <dgm:presLayoutVars>
          <dgm:chMax val="0"/>
          <dgm:bulletEnabled val="1"/>
        </dgm:presLayoutVars>
      </dgm:prSet>
      <dgm:spPr/>
      <dgm:t>
        <a:bodyPr/>
        <a:lstStyle/>
        <a:p>
          <a:endParaRPr lang="es-ES"/>
        </a:p>
      </dgm:t>
    </dgm:pt>
    <dgm:pt modelId="{B218C52D-2383-46E7-BB90-D0C5DB82FB7C}" type="pres">
      <dgm:prSet presAssocID="{B4E724D9-5266-4609-931A-6D0A7ECCE6D8}" presName="spacer" presStyleCnt="0"/>
      <dgm:spPr/>
    </dgm:pt>
    <dgm:pt modelId="{3F3988A7-1983-4255-A81D-F4A82E1861C2}" type="pres">
      <dgm:prSet presAssocID="{75015F65-F9AA-4389-A899-BCC1FA09A7C3}" presName="parentText" presStyleLbl="node1" presStyleIdx="2" presStyleCnt="5">
        <dgm:presLayoutVars>
          <dgm:chMax val="0"/>
          <dgm:bulletEnabled val="1"/>
        </dgm:presLayoutVars>
      </dgm:prSet>
      <dgm:spPr/>
      <dgm:t>
        <a:bodyPr/>
        <a:lstStyle/>
        <a:p>
          <a:endParaRPr lang="es-ES"/>
        </a:p>
      </dgm:t>
    </dgm:pt>
    <dgm:pt modelId="{4BE79D88-7630-44EF-8C0A-9D2EEB52ACDE}" type="pres">
      <dgm:prSet presAssocID="{E9D5DACE-A6A4-4023-B548-075A46A1E9A6}" presName="spacer" presStyleCnt="0"/>
      <dgm:spPr/>
    </dgm:pt>
    <dgm:pt modelId="{79DCB119-047E-4946-B910-D8F928A7BA6E}" type="pres">
      <dgm:prSet presAssocID="{9B10B0DC-E84C-4502-8BF0-1A5A1CF8EEC0}" presName="parentText" presStyleLbl="node1" presStyleIdx="3" presStyleCnt="5">
        <dgm:presLayoutVars>
          <dgm:chMax val="0"/>
          <dgm:bulletEnabled val="1"/>
        </dgm:presLayoutVars>
      </dgm:prSet>
      <dgm:spPr/>
      <dgm:t>
        <a:bodyPr/>
        <a:lstStyle/>
        <a:p>
          <a:endParaRPr lang="es-ES"/>
        </a:p>
      </dgm:t>
    </dgm:pt>
    <dgm:pt modelId="{0C3D4884-6252-480A-A009-28748E8E1E6D}" type="pres">
      <dgm:prSet presAssocID="{F335385C-7A9D-4890-9CBF-5EE00E7A6083}" presName="spacer" presStyleCnt="0"/>
      <dgm:spPr/>
    </dgm:pt>
    <dgm:pt modelId="{960FB0C9-5137-49A9-8A43-F9AFABC31E79}" type="pres">
      <dgm:prSet presAssocID="{7862BFBF-28B0-4466-A3B2-9429D5BF0056}" presName="parentText" presStyleLbl="node1" presStyleIdx="4" presStyleCnt="5">
        <dgm:presLayoutVars>
          <dgm:chMax val="0"/>
          <dgm:bulletEnabled val="1"/>
        </dgm:presLayoutVars>
      </dgm:prSet>
      <dgm:spPr/>
      <dgm:t>
        <a:bodyPr/>
        <a:lstStyle/>
        <a:p>
          <a:endParaRPr lang="es-ES"/>
        </a:p>
      </dgm:t>
    </dgm:pt>
  </dgm:ptLst>
  <dgm:cxnLst>
    <dgm:cxn modelId="{3733E71C-1142-4940-BF97-C6730F892B7B}" type="presOf" srcId="{7862BFBF-28B0-4466-A3B2-9429D5BF0056}" destId="{960FB0C9-5137-49A9-8A43-F9AFABC31E79}" srcOrd="0" destOrd="0" presId="urn:microsoft.com/office/officeart/2005/8/layout/vList2"/>
    <dgm:cxn modelId="{ABBAA72F-9DE2-49E0-870C-6A569AF504BC}" srcId="{7BFB52F8-DF2E-41D9-9A99-9DEC9587FE01}" destId="{7D167A96-48A3-4D70-83F0-89581F9630D3}" srcOrd="0" destOrd="0" parTransId="{22FF7967-354B-474A-AA7E-02C0AF7CA087}" sibTransId="{596BC897-7CAD-4278-A3A0-DF0F3CF7C789}"/>
    <dgm:cxn modelId="{5BB86B27-A270-4CDE-BFAC-0C3911628F3A}" type="presOf" srcId="{7D167A96-48A3-4D70-83F0-89581F9630D3}" destId="{BC2F1C18-FF56-4AC9-914B-CA82C07153C9}" srcOrd="0" destOrd="0" presId="urn:microsoft.com/office/officeart/2005/8/layout/vList2"/>
    <dgm:cxn modelId="{04AC996D-CAED-4D6B-B0C9-BD37A17AB2E7}" srcId="{7BFB52F8-DF2E-41D9-9A99-9DEC9587FE01}" destId="{9B10B0DC-E84C-4502-8BF0-1A5A1CF8EEC0}" srcOrd="3" destOrd="0" parTransId="{38D11F73-45DB-4523-807D-51BD5802C25F}" sibTransId="{F335385C-7A9D-4890-9CBF-5EE00E7A6083}"/>
    <dgm:cxn modelId="{7E772D32-65F5-4378-8DA5-100926458EBE}" type="presOf" srcId="{7BFB52F8-DF2E-41D9-9A99-9DEC9587FE01}" destId="{5C93C0FF-4244-4F0F-9F8A-B39CD75E8F0B}" srcOrd="0" destOrd="0" presId="urn:microsoft.com/office/officeart/2005/8/layout/vList2"/>
    <dgm:cxn modelId="{91173C5C-1326-4B8D-94DF-AA53088F16C6}" type="presOf" srcId="{9B10B0DC-E84C-4502-8BF0-1A5A1CF8EEC0}" destId="{79DCB119-047E-4946-B910-D8F928A7BA6E}" srcOrd="0" destOrd="0" presId="urn:microsoft.com/office/officeart/2005/8/layout/vList2"/>
    <dgm:cxn modelId="{18D1D8B4-DCDC-48BC-BB28-95A5405EBBB1}" srcId="{7BFB52F8-DF2E-41D9-9A99-9DEC9587FE01}" destId="{75015F65-F9AA-4389-A899-BCC1FA09A7C3}" srcOrd="2" destOrd="0" parTransId="{688FFC17-20C5-436B-BA7E-0F9F5AB8C0A9}" sibTransId="{E9D5DACE-A6A4-4023-B548-075A46A1E9A6}"/>
    <dgm:cxn modelId="{F019D81A-06D4-47C2-9B88-A37E0855AE46}" srcId="{7BFB52F8-DF2E-41D9-9A99-9DEC9587FE01}" destId="{841A6E9C-C8E4-4087-8C91-4A637E2F8C1B}" srcOrd="1" destOrd="0" parTransId="{2E89F20F-3D4F-4481-B836-EC4427C8E3BE}" sibTransId="{B4E724D9-5266-4609-931A-6D0A7ECCE6D8}"/>
    <dgm:cxn modelId="{5FB7B0AA-B31D-48F3-9326-DEACA772F648}" type="presOf" srcId="{75015F65-F9AA-4389-A899-BCC1FA09A7C3}" destId="{3F3988A7-1983-4255-A81D-F4A82E1861C2}" srcOrd="0" destOrd="0" presId="urn:microsoft.com/office/officeart/2005/8/layout/vList2"/>
    <dgm:cxn modelId="{A0B758CA-6A0A-4834-9B06-02AE91AEE707}" srcId="{7BFB52F8-DF2E-41D9-9A99-9DEC9587FE01}" destId="{7862BFBF-28B0-4466-A3B2-9429D5BF0056}" srcOrd="4" destOrd="0" parTransId="{BA632116-2ECA-4687-9C65-23DCDBCFE744}" sibTransId="{69EB4A44-5DA6-4C1B-9A87-22D0AA90D1B9}"/>
    <dgm:cxn modelId="{AF5C657E-A94D-447B-BA7F-AF3AA327E91F}" type="presOf" srcId="{841A6E9C-C8E4-4087-8C91-4A637E2F8C1B}" destId="{14513C6C-FE06-4A95-8072-833FCBDD6238}" srcOrd="0" destOrd="0" presId="urn:microsoft.com/office/officeart/2005/8/layout/vList2"/>
    <dgm:cxn modelId="{F0ACD9A8-27B5-48AF-A0D1-A09A89E79EF7}" type="presParOf" srcId="{5C93C0FF-4244-4F0F-9F8A-B39CD75E8F0B}" destId="{BC2F1C18-FF56-4AC9-914B-CA82C07153C9}" srcOrd="0" destOrd="0" presId="urn:microsoft.com/office/officeart/2005/8/layout/vList2"/>
    <dgm:cxn modelId="{EE2605B6-98C4-4793-8C25-B23548442025}" type="presParOf" srcId="{5C93C0FF-4244-4F0F-9F8A-B39CD75E8F0B}" destId="{3AC73424-9E00-4556-BE97-7AFF4D702354}" srcOrd="1" destOrd="0" presId="urn:microsoft.com/office/officeart/2005/8/layout/vList2"/>
    <dgm:cxn modelId="{6E26ADCA-4227-45D0-97CE-E111A4BD7F23}" type="presParOf" srcId="{5C93C0FF-4244-4F0F-9F8A-B39CD75E8F0B}" destId="{14513C6C-FE06-4A95-8072-833FCBDD6238}" srcOrd="2" destOrd="0" presId="urn:microsoft.com/office/officeart/2005/8/layout/vList2"/>
    <dgm:cxn modelId="{C8841517-DD37-4375-90C3-41DE2686E325}" type="presParOf" srcId="{5C93C0FF-4244-4F0F-9F8A-B39CD75E8F0B}" destId="{B218C52D-2383-46E7-BB90-D0C5DB82FB7C}" srcOrd="3" destOrd="0" presId="urn:microsoft.com/office/officeart/2005/8/layout/vList2"/>
    <dgm:cxn modelId="{DE689A2F-83F4-4A46-A9AC-DBBA527F9F89}" type="presParOf" srcId="{5C93C0FF-4244-4F0F-9F8A-B39CD75E8F0B}" destId="{3F3988A7-1983-4255-A81D-F4A82E1861C2}" srcOrd="4" destOrd="0" presId="urn:microsoft.com/office/officeart/2005/8/layout/vList2"/>
    <dgm:cxn modelId="{4A17E0EF-EF27-4791-849B-516A91EE6CA9}" type="presParOf" srcId="{5C93C0FF-4244-4F0F-9F8A-B39CD75E8F0B}" destId="{4BE79D88-7630-44EF-8C0A-9D2EEB52ACDE}" srcOrd="5" destOrd="0" presId="urn:microsoft.com/office/officeart/2005/8/layout/vList2"/>
    <dgm:cxn modelId="{D14B5BB7-697D-4630-9666-BC56A8088297}" type="presParOf" srcId="{5C93C0FF-4244-4F0F-9F8A-B39CD75E8F0B}" destId="{79DCB119-047E-4946-B910-D8F928A7BA6E}" srcOrd="6" destOrd="0" presId="urn:microsoft.com/office/officeart/2005/8/layout/vList2"/>
    <dgm:cxn modelId="{0E21666A-BE50-4E18-BA3E-7C67C8E30C16}" type="presParOf" srcId="{5C93C0FF-4244-4F0F-9F8A-B39CD75E8F0B}" destId="{0C3D4884-6252-480A-A009-28748E8E1E6D}" srcOrd="7" destOrd="0" presId="urn:microsoft.com/office/officeart/2005/8/layout/vList2"/>
    <dgm:cxn modelId="{95AAC0ED-5EB4-4177-B7C7-3687599ACA12}" type="presParOf" srcId="{5C93C0FF-4244-4F0F-9F8A-B39CD75E8F0B}" destId="{960FB0C9-5137-49A9-8A43-F9AFABC31E79}"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EB2D410-D98C-4360-8BF4-5BE8390EB7BC}"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s-ES"/>
        </a:p>
      </dgm:t>
    </dgm:pt>
    <dgm:pt modelId="{665DE52A-D5DE-4BDA-835E-E194E4680003}">
      <dgm:prSet custT="1"/>
      <dgm:spPr/>
      <dgm:t>
        <a:bodyPr/>
        <a:lstStyle/>
        <a:p>
          <a:pPr algn="ctr" rtl="0"/>
          <a:r>
            <a:rPr lang="es-ES" sz="2800" b="1" i="0" baseline="0" dirty="0" smtClean="0"/>
            <a:t>Conformidad</a:t>
          </a:r>
          <a:endParaRPr lang="es-ES" sz="2800" b="1" dirty="0"/>
        </a:p>
      </dgm:t>
    </dgm:pt>
    <dgm:pt modelId="{69561863-A3CD-4C90-8893-112DBE5ED809}" type="parTrans" cxnId="{9A39BC70-8EAA-4C6B-A0F1-9D122BD3E71C}">
      <dgm:prSet/>
      <dgm:spPr/>
      <dgm:t>
        <a:bodyPr/>
        <a:lstStyle/>
        <a:p>
          <a:pPr algn="ctr"/>
          <a:endParaRPr lang="es-ES" sz="2000" b="1"/>
        </a:p>
      </dgm:t>
    </dgm:pt>
    <dgm:pt modelId="{97A61D41-1321-4D8D-A010-86E7017331A7}" type="sibTrans" cxnId="{9A39BC70-8EAA-4C6B-A0F1-9D122BD3E71C}">
      <dgm:prSet/>
      <dgm:spPr/>
      <dgm:t>
        <a:bodyPr/>
        <a:lstStyle/>
        <a:p>
          <a:pPr algn="ctr"/>
          <a:endParaRPr lang="es-ES" sz="2000" b="1"/>
        </a:p>
      </dgm:t>
    </dgm:pt>
    <dgm:pt modelId="{95B1C105-BC30-4746-A585-D391CFEA4525}">
      <dgm:prSet custT="1"/>
      <dgm:spPr/>
      <dgm:t>
        <a:bodyPr/>
        <a:lstStyle/>
        <a:p>
          <a:pPr algn="ctr" rtl="0"/>
          <a:r>
            <a:rPr lang="es-ES" sz="2800" b="1" i="0" baseline="0" smtClean="0"/>
            <a:t>Ordenación</a:t>
          </a:r>
          <a:endParaRPr lang="es-ES" sz="2800" b="1"/>
        </a:p>
      </dgm:t>
    </dgm:pt>
    <dgm:pt modelId="{5CAFEAAC-577D-461F-A2C4-0CC1B03E1062}" type="parTrans" cxnId="{4AD8C099-ADFF-4117-8A2A-1261848B15C1}">
      <dgm:prSet/>
      <dgm:spPr/>
      <dgm:t>
        <a:bodyPr/>
        <a:lstStyle/>
        <a:p>
          <a:pPr algn="ctr"/>
          <a:endParaRPr lang="es-ES" sz="2000" b="1"/>
        </a:p>
      </dgm:t>
    </dgm:pt>
    <dgm:pt modelId="{0399ABDE-7E85-4982-B719-5DF075360F21}" type="sibTrans" cxnId="{4AD8C099-ADFF-4117-8A2A-1261848B15C1}">
      <dgm:prSet/>
      <dgm:spPr/>
      <dgm:t>
        <a:bodyPr/>
        <a:lstStyle/>
        <a:p>
          <a:pPr algn="ctr"/>
          <a:endParaRPr lang="es-ES" sz="2000" b="1"/>
        </a:p>
      </dgm:t>
    </dgm:pt>
    <dgm:pt modelId="{2D441EB7-4947-4017-A570-3E199DF530DD}">
      <dgm:prSet custT="1"/>
      <dgm:spPr/>
      <dgm:t>
        <a:bodyPr/>
        <a:lstStyle/>
        <a:p>
          <a:pPr algn="ctr" rtl="0"/>
          <a:r>
            <a:rPr lang="es-ES" sz="2800" b="1" i="0" baseline="0" smtClean="0"/>
            <a:t>Rango</a:t>
          </a:r>
          <a:endParaRPr lang="es-ES" sz="2800" b="1"/>
        </a:p>
      </dgm:t>
    </dgm:pt>
    <dgm:pt modelId="{A333E6DB-1E10-47DA-BA0E-26D043FCA12E}" type="parTrans" cxnId="{95817228-DD2C-4068-B819-F514E8D39391}">
      <dgm:prSet/>
      <dgm:spPr/>
      <dgm:t>
        <a:bodyPr/>
        <a:lstStyle/>
        <a:p>
          <a:pPr algn="ctr"/>
          <a:endParaRPr lang="es-ES" sz="2000" b="1"/>
        </a:p>
      </dgm:t>
    </dgm:pt>
    <dgm:pt modelId="{6EDDAB72-1EA9-4E14-8A5C-152490D4AB1C}" type="sibTrans" cxnId="{95817228-DD2C-4068-B819-F514E8D39391}">
      <dgm:prSet/>
      <dgm:spPr/>
      <dgm:t>
        <a:bodyPr/>
        <a:lstStyle/>
        <a:p>
          <a:pPr algn="ctr"/>
          <a:endParaRPr lang="es-ES" sz="2000" b="1"/>
        </a:p>
      </dgm:t>
    </dgm:pt>
    <dgm:pt modelId="{93529B13-87BF-4EF3-A383-165DF316CFA5}">
      <dgm:prSet custT="1"/>
      <dgm:spPr/>
      <dgm:t>
        <a:bodyPr/>
        <a:lstStyle/>
        <a:p>
          <a:pPr algn="ctr" rtl="0"/>
          <a:r>
            <a:rPr lang="es-ES" sz="2800" b="1" i="0" baseline="0" smtClean="0"/>
            <a:t>Referencia</a:t>
          </a:r>
          <a:endParaRPr lang="es-ES" sz="2800" b="1"/>
        </a:p>
      </dgm:t>
    </dgm:pt>
    <dgm:pt modelId="{16A35734-6069-49C4-80E7-605C30091FBB}" type="parTrans" cxnId="{3F984131-30C6-4EEF-90A4-EAD2EFA99044}">
      <dgm:prSet/>
      <dgm:spPr/>
      <dgm:t>
        <a:bodyPr/>
        <a:lstStyle/>
        <a:p>
          <a:pPr algn="ctr"/>
          <a:endParaRPr lang="es-ES" sz="2000" b="1"/>
        </a:p>
      </dgm:t>
    </dgm:pt>
    <dgm:pt modelId="{112078A7-C12B-463F-B50D-818F3187421E}" type="sibTrans" cxnId="{3F984131-30C6-4EEF-90A4-EAD2EFA99044}">
      <dgm:prSet/>
      <dgm:spPr/>
      <dgm:t>
        <a:bodyPr/>
        <a:lstStyle/>
        <a:p>
          <a:pPr algn="ctr"/>
          <a:endParaRPr lang="es-ES" sz="2000" b="1"/>
        </a:p>
      </dgm:t>
    </dgm:pt>
    <dgm:pt modelId="{14E39F9F-1BF3-479F-80B0-0B34478F58CE}">
      <dgm:prSet custT="1"/>
      <dgm:spPr/>
      <dgm:t>
        <a:bodyPr/>
        <a:lstStyle/>
        <a:p>
          <a:pPr algn="ctr" rtl="0"/>
          <a:r>
            <a:rPr lang="es-ES" sz="2800" b="1" i="0" baseline="0" smtClean="0"/>
            <a:t>Existencia</a:t>
          </a:r>
          <a:endParaRPr lang="es-ES" sz="2800" b="1"/>
        </a:p>
      </dgm:t>
    </dgm:pt>
    <dgm:pt modelId="{2C1FF488-D414-4541-BB11-05AD13D76F24}" type="parTrans" cxnId="{30653B84-9752-4643-9F4F-819D575B10F4}">
      <dgm:prSet/>
      <dgm:spPr/>
      <dgm:t>
        <a:bodyPr/>
        <a:lstStyle/>
        <a:p>
          <a:pPr algn="ctr"/>
          <a:endParaRPr lang="es-ES" sz="2000" b="1"/>
        </a:p>
      </dgm:t>
    </dgm:pt>
    <dgm:pt modelId="{A8010353-4701-44DD-9960-A764FAF16817}" type="sibTrans" cxnId="{30653B84-9752-4643-9F4F-819D575B10F4}">
      <dgm:prSet/>
      <dgm:spPr/>
      <dgm:t>
        <a:bodyPr/>
        <a:lstStyle/>
        <a:p>
          <a:pPr algn="ctr"/>
          <a:endParaRPr lang="es-ES" sz="2000" b="1"/>
        </a:p>
      </dgm:t>
    </dgm:pt>
    <dgm:pt modelId="{366A7EDD-77E1-4C3E-AB83-8D33739E963D}">
      <dgm:prSet custT="1"/>
      <dgm:spPr/>
      <dgm:t>
        <a:bodyPr/>
        <a:lstStyle/>
        <a:p>
          <a:pPr algn="ctr" rtl="0"/>
          <a:r>
            <a:rPr lang="es-ES" sz="2800" b="1" i="0" baseline="0" smtClean="0"/>
            <a:t>Cardinalidad</a:t>
          </a:r>
          <a:endParaRPr lang="es-ES" sz="2800" b="1"/>
        </a:p>
      </dgm:t>
    </dgm:pt>
    <dgm:pt modelId="{D89E648F-8D85-4D61-A312-6AF6B3236F5C}" type="parTrans" cxnId="{D84F51AA-BE2D-49A3-B8DB-104D5FD88610}">
      <dgm:prSet/>
      <dgm:spPr/>
      <dgm:t>
        <a:bodyPr/>
        <a:lstStyle/>
        <a:p>
          <a:pPr algn="ctr"/>
          <a:endParaRPr lang="es-ES" sz="2000" b="1"/>
        </a:p>
      </dgm:t>
    </dgm:pt>
    <dgm:pt modelId="{5E97D276-43C4-451F-9D2B-890AE71BAB23}" type="sibTrans" cxnId="{D84F51AA-BE2D-49A3-B8DB-104D5FD88610}">
      <dgm:prSet/>
      <dgm:spPr/>
      <dgm:t>
        <a:bodyPr/>
        <a:lstStyle/>
        <a:p>
          <a:pPr algn="ctr"/>
          <a:endParaRPr lang="es-ES" sz="2000" b="1"/>
        </a:p>
      </dgm:t>
    </dgm:pt>
    <dgm:pt modelId="{B7364CDB-A7AB-4B96-B04A-D4DEF69C78BF}">
      <dgm:prSet custT="1"/>
      <dgm:spPr/>
      <dgm:t>
        <a:bodyPr/>
        <a:lstStyle/>
        <a:p>
          <a:pPr algn="ctr" rtl="0"/>
          <a:r>
            <a:rPr lang="es-ES" sz="2800" b="1" i="0" baseline="0" smtClean="0"/>
            <a:t>Tiempo</a:t>
          </a:r>
          <a:endParaRPr lang="es-ES" sz="2800" b="1"/>
        </a:p>
      </dgm:t>
    </dgm:pt>
    <dgm:pt modelId="{9863B345-43B8-4BD7-ABCD-6E0BFFCAE904}" type="parTrans" cxnId="{BE6E8409-7440-471B-85B9-6DA7A68588D8}">
      <dgm:prSet/>
      <dgm:spPr/>
      <dgm:t>
        <a:bodyPr/>
        <a:lstStyle/>
        <a:p>
          <a:pPr algn="ctr"/>
          <a:endParaRPr lang="es-ES" sz="2000" b="1"/>
        </a:p>
      </dgm:t>
    </dgm:pt>
    <dgm:pt modelId="{31058073-BB20-4660-A29C-165343528F21}" type="sibTrans" cxnId="{BE6E8409-7440-471B-85B9-6DA7A68588D8}">
      <dgm:prSet/>
      <dgm:spPr/>
      <dgm:t>
        <a:bodyPr/>
        <a:lstStyle/>
        <a:p>
          <a:pPr algn="ctr"/>
          <a:endParaRPr lang="es-ES" sz="2000" b="1"/>
        </a:p>
      </dgm:t>
    </dgm:pt>
    <dgm:pt modelId="{0871E73B-F613-4C15-9370-131DD995E5B6}" type="pres">
      <dgm:prSet presAssocID="{8EB2D410-D98C-4360-8BF4-5BE8390EB7BC}" presName="linear" presStyleCnt="0">
        <dgm:presLayoutVars>
          <dgm:animLvl val="lvl"/>
          <dgm:resizeHandles val="exact"/>
        </dgm:presLayoutVars>
      </dgm:prSet>
      <dgm:spPr/>
      <dgm:t>
        <a:bodyPr/>
        <a:lstStyle/>
        <a:p>
          <a:endParaRPr lang="es-ES"/>
        </a:p>
      </dgm:t>
    </dgm:pt>
    <dgm:pt modelId="{73883DBE-8DD2-424A-BEB9-D95B11351675}" type="pres">
      <dgm:prSet presAssocID="{665DE52A-D5DE-4BDA-835E-E194E4680003}" presName="parentText" presStyleLbl="node1" presStyleIdx="0" presStyleCnt="7" custLinFactNeighborX="-9026" custLinFactNeighborY="-5700">
        <dgm:presLayoutVars>
          <dgm:chMax val="0"/>
          <dgm:bulletEnabled val="1"/>
        </dgm:presLayoutVars>
      </dgm:prSet>
      <dgm:spPr/>
      <dgm:t>
        <a:bodyPr/>
        <a:lstStyle/>
        <a:p>
          <a:endParaRPr lang="es-ES"/>
        </a:p>
      </dgm:t>
    </dgm:pt>
    <dgm:pt modelId="{07D06B38-231C-4A14-8F7E-B33C232BCF0F}" type="pres">
      <dgm:prSet presAssocID="{97A61D41-1321-4D8D-A010-86E7017331A7}" presName="spacer" presStyleCnt="0"/>
      <dgm:spPr/>
    </dgm:pt>
    <dgm:pt modelId="{76B41CD9-6A19-4DD0-BF95-5316FE873AE5}" type="pres">
      <dgm:prSet presAssocID="{95B1C105-BC30-4746-A585-D391CFEA4525}" presName="parentText" presStyleLbl="node1" presStyleIdx="1" presStyleCnt="7">
        <dgm:presLayoutVars>
          <dgm:chMax val="0"/>
          <dgm:bulletEnabled val="1"/>
        </dgm:presLayoutVars>
      </dgm:prSet>
      <dgm:spPr/>
      <dgm:t>
        <a:bodyPr/>
        <a:lstStyle/>
        <a:p>
          <a:endParaRPr lang="es-ES"/>
        </a:p>
      </dgm:t>
    </dgm:pt>
    <dgm:pt modelId="{AF9FC4C7-6A8F-49F3-911F-07F8A1EC2B90}" type="pres">
      <dgm:prSet presAssocID="{0399ABDE-7E85-4982-B719-5DF075360F21}" presName="spacer" presStyleCnt="0"/>
      <dgm:spPr/>
    </dgm:pt>
    <dgm:pt modelId="{4B3EBE97-C5AE-4EEE-9B23-6594E1EE6BCD}" type="pres">
      <dgm:prSet presAssocID="{2D441EB7-4947-4017-A570-3E199DF530DD}" presName="parentText" presStyleLbl="node1" presStyleIdx="2" presStyleCnt="7">
        <dgm:presLayoutVars>
          <dgm:chMax val="0"/>
          <dgm:bulletEnabled val="1"/>
        </dgm:presLayoutVars>
      </dgm:prSet>
      <dgm:spPr/>
      <dgm:t>
        <a:bodyPr/>
        <a:lstStyle/>
        <a:p>
          <a:endParaRPr lang="es-ES"/>
        </a:p>
      </dgm:t>
    </dgm:pt>
    <dgm:pt modelId="{CD345C1C-9AEB-4B4C-9388-1CF13A6A965C}" type="pres">
      <dgm:prSet presAssocID="{6EDDAB72-1EA9-4E14-8A5C-152490D4AB1C}" presName="spacer" presStyleCnt="0"/>
      <dgm:spPr/>
    </dgm:pt>
    <dgm:pt modelId="{E191AE89-4085-441A-8BB3-49B48A68512C}" type="pres">
      <dgm:prSet presAssocID="{93529B13-87BF-4EF3-A383-165DF316CFA5}" presName="parentText" presStyleLbl="node1" presStyleIdx="3" presStyleCnt="7" custLinFactNeighborX="75280" custLinFactNeighborY="-14700">
        <dgm:presLayoutVars>
          <dgm:chMax val="0"/>
          <dgm:bulletEnabled val="1"/>
        </dgm:presLayoutVars>
      </dgm:prSet>
      <dgm:spPr/>
      <dgm:t>
        <a:bodyPr/>
        <a:lstStyle/>
        <a:p>
          <a:endParaRPr lang="es-ES"/>
        </a:p>
      </dgm:t>
    </dgm:pt>
    <dgm:pt modelId="{77255382-DDF1-4690-9D64-42553E865DFC}" type="pres">
      <dgm:prSet presAssocID="{112078A7-C12B-463F-B50D-818F3187421E}" presName="spacer" presStyleCnt="0"/>
      <dgm:spPr/>
    </dgm:pt>
    <dgm:pt modelId="{6412BDCB-D351-4A47-93DA-99E9161C2391}" type="pres">
      <dgm:prSet presAssocID="{14E39F9F-1BF3-479F-80B0-0B34478F58CE}" presName="parentText" presStyleLbl="node1" presStyleIdx="4" presStyleCnt="7">
        <dgm:presLayoutVars>
          <dgm:chMax val="0"/>
          <dgm:bulletEnabled val="1"/>
        </dgm:presLayoutVars>
      </dgm:prSet>
      <dgm:spPr/>
      <dgm:t>
        <a:bodyPr/>
        <a:lstStyle/>
        <a:p>
          <a:endParaRPr lang="es-ES"/>
        </a:p>
      </dgm:t>
    </dgm:pt>
    <dgm:pt modelId="{558233A8-DAD6-46A8-9ABD-08B80C549651}" type="pres">
      <dgm:prSet presAssocID="{A8010353-4701-44DD-9960-A764FAF16817}" presName="spacer" presStyleCnt="0"/>
      <dgm:spPr/>
    </dgm:pt>
    <dgm:pt modelId="{B00F8DEE-E1B0-4EB7-BD1E-4A5E8E6EC72E}" type="pres">
      <dgm:prSet presAssocID="{366A7EDD-77E1-4C3E-AB83-8D33739E963D}" presName="parentText" presStyleLbl="node1" presStyleIdx="5" presStyleCnt="7">
        <dgm:presLayoutVars>
          <dgm:chMax val="0"/>
          <dgm:bulletEnabled val="1"/>
        </dgm:presLayoutVars>
      </dgm:prSet>
      <dgm:spPr/>
      <dgm:t>
        <a:bodyPr/>
        <a:lstStyle/>
        <a:p>
          <a:endParaRPr lang="es-ES"/>
        </a:p>
      </dgm:t>
    </dgm:pt>
    <dgm:pt modelId="{1CFB6226-AAAE-4592-B64D-BE42C1F3A174}" type="pres">
      <dgm:prSet presAssocID="{5E97D276-43C4-451F-9D2B-890AE71BAB23}" presName="spacer" presStyleCnt="0"/>
      <dgm:spPr/>
    </dgm:pt>
    <dgm:pt modelId="{8F1A6C90-FB5C-4090-857F-88D93189069B}" type="pres">
      <dgm:prSet presAssocID="{B7364CDB-A7AB-4B96-B04A-D4DEF69C78BF}" presName="parentText" presStyleLbl="node1" presStyleIdx="6" presStyleCnt="7">
        <dgm:presLayoutVars>
          <dgm:chMax val="0"/>
          <dgm:bulletEnabled val="1"/>
        </dgm:presLayoutVars>
      </dgm:prSet>
      <dgm:spPr/>
      <dgm:t>
        <a:bodyPr/>
        <a:lstStyle/>
        <a:p>
          <a:endParaRPr lang="es-ES"/>
        </a:p>
      </dgm:t>
    </dgm:pt>
  </dgm:ptLst>
  <dgm:cxnLst>
    <dgm:cxn modelId="{D8140934-2709-4326-A9EE-BB39FAB31C2F}" type="presOf" srcId="{366A7EDD-77E1-4C3E-AB83-8D33739E963D}" destId="{B00F8DEE-E1B0-4EB7-BD1E-4A5E8E6EC72E}" srcOrd="0" destOrd="0" presId="urn:microsoft.com/office/officeart/2005/8/layout/vList2"/>
    <dgm:cxn modelId="{9A39BC70-8EAA-4C6B-A0F1-9D122BD3E71C}" srcId="{8EB2D410-D98C-4360-8BF4-5BE8390EB7BC}" destId="{665DE52A-D5DE-4BDA-835E-E194E4680003}" srcOrd="0" destOrd="0" parTransId="{69561863-A3CD-4C90-8893-112DBE5ED809}" sibTransId="{97A61D41-1321-4D8D-A010-86E7017331A7}"/>
    <dgm:cxn modelId="{95817228-DD2C-4068-B819-F514E8D39391}" srcId="{8EB2D410-D98C-4360-8BF4-5BE8390EB7BC}" destId="{2D441EB7-4947-4017-A570-3E199DF530DD}" srcOrd="2" destOrd="0" parTransId="{A333E6DB-1E10-47DA-BA0E-26D043FCA12E}" sibTransId="{6EDDAB72-1EA9-4E14-8A5C-152490D4AB1C}"/>
    <dgm:cxn modelId="{D84F51AA-BE2D-49A3-B8DB-104D5FD88610}" srcId="{8EB2D410-D98C-4360-8BF4-5BE8390EB7BC}" destId="{366A7EDD-77E1-4C3E-AB83-8D33739E963D}" srcOrd="5" destOrd="0" parTransId="{D89E648F-8D85-4D61-A312-6AF6B3236F5C}" sibTransId="{5E97D276-43C4-451F-9D2B-890AE71BAB23}"/>
    <dgm:cxn modelId="{DECC1667-CCD9-461F-9ED2-F8D82F5D3649}" type="presOf" srcId="{8EB2D410-D98C-4360-8BF4-5BE8390EB7BC}" destId="{0871E73B-F613-4C15-9370-131DD995E5B6}" srcOrd="0" destOrd="0" presId="urn:microsoft.com/office/officeart/2005/8/layout/vList2"/>
    <dgm:cxn modelId="{40A6BBCB-DB93-44F9-B391-FB7F3D2FC38B}" type="presOf" srcId="{2D441EB7-4947-4017-A570-3E199DF530DD}" destId="{4B3EBE97-C5AE-4EEE-9B23-6594E1EE6BCD}" srcOrd="0" destOrd="0" presId="urn:microsoft.com/office/officeart/2005/8/layout/vList2"/>
    <dgm:cxn modelId="{BE6E8409-7440-471B-85B9-6DA7A68588D8}" srcId="{8EB2D410-D98C-4360-8BF4-5BE8390EB7BC}" destId="{B7364CDB-A7AB-4B96-B04A-D4DEF69C78BF}" srcOrd="6" destOrd="0" parTransId="{9863B345-43B8-4BD7-ABCD-6E0BFFCAE904}" sibTransId="{31058073-BB20-4660-A29C-165343528F21}"/>
    <dgm:cxn modelId="{4AD8C099-ADFF-4117-8A2A-1261848B15C1}" srcId="{8EB2D410-D98C-4360-8BF4-5BE8390EB7BC}" destId="{95B1C105-BC30-4746-A585-D391CFEA4525}" srcOrd="1" destOrd="0" parTransId="{5CAFEAAC-577D-461F-A2C4-0CC1B03E1062}" sibTransId="{0399ABDE-7E85-4982-B719-5DF075360F21}"/>
    <dgm:cxn modelId="{72A748F5-70CB-4E32-B786-C105D7EB90DE}" type="presOf" srcId="{B7364CDB-A7AB-4B96-B04A-D4DEF69C78BF}" destId="{8F1A6C90-FB5C-4090-857F-88D93189069B}" srcOrd="0" destOrd="0" presId="urn:microsoft.com/office/officeart/2005/8/layout/vList2"/>
    <dgm:cxn modelId="{DE4B8678-A69B-41D6-8D7B-E6EE8AEE676F}" type="presOf" srcId="{14E39F9F-1BF3-479F-80B0-0B34478F58CE}" destId="{6412BDCB-D351-4A47-93DA-99E9161C2391}" srcOrd="0" destOrd="0" presId="urn:microsoft.com/office/officeart/2005/8/layout/vList2"/>
    <dgm:cxn modelId="{30653B84-9752-4643-9F4F-819D575B10F4}" srcId="{8EB2D410-D98C-4360-8BF4-5BE8390EB7BC}" destId="{14E39F9F-1BF3-479F-80B0-0B34478F58CE}" srcOrd="4" destOrd="0" parTransId="{2C1FF488-D414-4541-BB11-05AD13D76F24}" sibTransId="{A8010353-4701-44DD-9960-A764FAF16817}"/>
    <dgm:cxn modelId="{3F984131-30C6-4EEF-90A4-EAD2EFA99044}" srcId="{8EB2D410-D98C-4360-8BF4-5BE8390EB7BC}" destId="{93529B13-87BF-4EF3-A383-165DF316CFA5}" srcOrd="3" destOrd="0" parTransId="{16A35734-6069-49C4-80E7-605C30091FBB}" sibTransId="{112078A7-C12B-463F-B50D-818F3187421E}"/>
    <dgm:cxn modelId="{2BF1F939-5739-4FE0-9AA4-F87286F99A7E}" type="presOf" srcId="{95B1C105-BC30-4746-A585-D391CFEA4525}" destId="{76B41CD9-6A19-4DD0-BF95-5316FE873AE5}" srcOrd="0" destOrd="0" presId="urn:microsoft.com/office/officeart/2005/8/layout/vList2"/>
    <dgm:cxn modelId="{43B1F297-CD24-4321-B0EF-CC3F185A7B32}" type="presOf" srcId="{93529B13-87BF-4EF3-A383-165DF316CFA5}" destId="{E191AE89-4085-441A-8BB3-49B48A68512C}" srcOrd="0" destOrd="0" presId="urn:microsoft.com/office/officeart/2005/8/layout/vList2"/>
    <dgm:cxn modelId="{6212FC33-ADB7-43BF-8DF1-E6A27873493A}" type="presOf" srcId="{665DE52A-D5DE-4BDA-835E-E194E4680003}" destId="{73883DBE-8DD2-424A-BEB9-D95B11351675}" srcOrd="0" destOrd="0" presId="urn:microsoft.com/office/officeart/2005/8/layout/vList2"/>
    <dgm:cxn modelId="{6E7A340C-D16B-4F17-9045-8A769DCDF3A5}" type="presParOf" srcId="{0871E73B-F613-4C15-9370-131DD995E5B6}" destId="{73883DBE-8DD2-424A-BEB9-D95B11351675}" srcOrd="0" destOrd="0" presId="urn:microsoft.com/office/officeart/2005/8/layout/vList2"/>
    <dgm:cxn modelId="{07B503E5-36F6-4DC7-BC4B-52CD1010A559}" type="presParOf" srcId="{0871E73B-F613-4C15-9370-131DD995E5B6}" destId="{07D06B38-231C-4A14-8F7E-B33C232BCF0F}" srcOrd="1" destOrd="0" presId="urn:microsoft.com/office/officeart/2005/8/layout/vList2"/>
    <dgm:cxn modelId="{E2987785-B90A-4215-ADCE-706647BD9AE6}" type="presParOf" srcId="{0871E73B-F613-4C15-9370-131DD995E5B6}" destId="{76B41CD9-6A19-4DD0-BF95-5316FE873AE5}" srcOrd="2" destOrd="0" presId="urn:microsoft.com/office/officeart/2005/8/layout/vList2"/>
    <dgm:cxn modelId="{5170181D-BCA2-4E69-8618-B424802E4C77}" type="presParOf" srcId="{0871E73B-F613-4C15-9370-131DD995E5B6}" destId="{AF9FC4C7-6A8F-49F3-911F-07F8A1EC2B90}" srcOrd="3" destOrd="0" presId="urn:microsoft.com/office/officeart/2005/8/layout/vList2"/>
    <dgm:cxn modelId="{F511DB47-20C2-40FC-8DDA-3C5F06298E3F}" type="presParOf" srcId="{0871E73B-F613-4C15-9370-131DD995E5B6}" destId="{4B3EBE97-C5AE-4EEE-9B23-6594E1EE6BCD}" srcOrd="4" destOrd="0" presId="urn:microsoft.com/office/officeart/2005/8/layout/vList2"/>
    <dgm:cxn modelId="{6E7F249F-0E63-4BDB-A0EA-7204D264FC1A}" type="presParOf" srcId="{0871E73B-F613-4C15-9370-131DD995E5B6}" destId="{CD345C1C-9AEB-4B4C-9388-1CF13A6A965C}" srcOrd="5" destOrd="0" presId="urn:microsoft.com/office/officeart/2005/8/layout/vList2"/>
    <dgm:cxn modelId="{9F6C5BF2-894C-495F-85F0-F1DBDD7C013B}" type="presParOf" srcId="{0871E73B-F613-4C15-9370-131DD995E5B6}" destId="{E191AE89-4085-441A-8BB3-49B48A68512C}" srcOrd="6" destOrd="0" presId="urn:microsoft.com/office/officeart/2005/8/layout/vList2"/>
    <dgm:cxn modelId="{885F40B5-5805-48B1-B8CD-59D21CD76BD5}" type="presParOf" srcId="{0871E73B-F613-4C15-9370-131DD995E5B6}" destId="{77255382-DDF1-4690-9D64-42553E865DFC}" srcOrd="7" destOrd="0" presId="urn:microsoft.com/office/officeart/2005/8/layout/vList2"/>
    <dgm:cxn modelId="{87EAE87B-F5B6-4E70-90B2-A129A1B14229}" type="presParOf" srcId="{0871E73B-F613-4C15-9370-131DD995E5B6}" destId="{6412BDCB-D351-4A47-93DA-99E9161C2391}" srcOrd="8" destOrd="0" presId="urn:microsoft.com/office/officeart/2005/8/layout/vList2"/>
    <dgm:cxn modelId="{373098D5-35E0-44F6-AAD9-431FF96B8968}" type="presParOf" srcId="{0871E73B-F613-4C15-9370-131DD995E5B6}" destId="{558233A8-DAD6-46A8-9ABD-08B80C549651}" srcOrd="9" destOrd="0" presId="urn:microsoft.com/office/officeart/2005/8/layout/vList2"/>
    <dgm:cxn modelId="{CF8238FB-6D68-46D2-B072-3D63C9BBB99F}" type="presParOf" srcId="{0871E73B-F613-4C15-9370-131DD995E5B6}" destId="{B00F8DEE-E1B0-4EB7-BD1E-4A5E8E6EC72E}" srcOrd="10" destOrd="0" presId="urn:microsoft.com/office/officeart/2005/8/layout/vList2"/>
    <dgm:cxn modelId="{1E722F4B-F96A-4479-B016-9EC0C83F6B27}" type="presParOf" srcId="{0871E73B-F613-4C15-9370-131DD995E5B6}" destId="{1CFB6226-AAAE-4592-B64D-BE42C1F3A174}" srcOrd="11" destOrd="0" presId="urn:microsoft.com/office/officeart/2005/8/layout/vList2"/>
    <dgm:cxn modelId="{9489E464-5BF1-4CDA-A87E-96F5878DBEB1}" type="presParOf" srcId="{0871E73B-F613-4C15-9370-131DD995E5B6}" destId="{8F1A6C90-FB5C-4090-857F-88D93189069B}"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0BE17F-629B-4DA7-A9D8-E3C888E1C7E1}">
      <dsp:nvSpPr>
        <dsp:cNvPr id="0" name=""/>
        <dsp:cNvSpPr/>
      </dsp:nvSpPr>
      <dsp:spPr>
        <a:xfrm>
          <a:off x="3666748" y="2885"/>
          <a:ext cx="1932316" cy="1073508"/>
        </a:xfrm>
        <a:prstGeom prst="roundRect">
          <a:avLst>
            <a:gd name="adj" fmla="val 10000"/>
          </a:avLst>
        </a:prstGeom>
        <a:solidFill>
          <a:schemeClr val="accent3">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lvl="0" algn="ctr" defTabSz="1822450">
            <a:lnSpc>
              <a:spcPct val="90000"/>
            </a:lnSpc>
            <a:spcBef>
              <a:spcPct val="0"/>
            </a:spcBef>
            <a:spcAft>
              <a:spcPct val="35000"/>
            </a:spcAft>
          </a:pPr>
          <a:r>
            <a:rPr lang="es-ES" sz="4100" kern="1200" dirty="0" smtClean="0"/>
            <a:t>FASE 0 </a:t>
          </a:r>
          <a:endParaRPr lang="es-ES" sz="4100" kern="1200" dirty="0"/>
        </a:p>
      </dsp:txBody>
      <dsp:txXfrm>
        <a:off x="3698190" y="34327"/>
        <a:ext cx="1869432" cy="1010624"/>
      </dsp:txXfrm>
    </dsp:sp>
    <dsp:sp modelId="{023EF5A7-AD39-4677-87A9-74D29E035B62}">
      <dsp:nvSpPr>
        <dsp:cNvPr id="0" name=""/>
        <dsp:cNvSpPr/>
      </dsp:nvSpPr>
      <dsp:spPr>
        <a:xfrm rot="5400000">
          <a:off x="4431624" y="1103232"/>
          <a:ext cx="402565" cy="483079"/>
        </a:xfrm>
        <a:prstGeom prst="rightArrow">
          <a:avLst>
            <a:gd name="adj1" fmla="val 60000"/>
            <a:gd name="adj2" fmla="val 50000"/>
          </a:avLst>
        </a:prstGeom>
        <a:solidFill>
          <a:schemeClr val="accent3">
            <a:shade val="9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s-ES" sz="1800" kern="1200" dirty="0"/>
        </a:p>
      </dsp:txBody>
      <dsp:txXfrm rot="-5400000">
        <a:off x="4487984" y="1143489"/>
        <a:ext cx="289847" cy="281796"/>
      </dsp:txXfrm>
    </dsp:sp>
    <dsp:sp modelId="{4F446970-7118-4FD1-B9B6-02DEB042B161}">
      <dsp:nvSpPr>
        <dsp:cNvPr id="0" name=""/>
        <dsp:cNvSpPr/>
      </dsp:nvSpPr>
      <dsp:spPr>
        <a:xfrm>
          <a:off x="3666748" y="1613149"/>
          <a:ext cx="1932316" cy="1073508"/>
        </a:xfrm>
        <a:prstGeom prst="roundRect">
          <a:avLst>
            <a:gd name="adj" fmla="val 10000"/>
          </a:avLst>
        </a:prstGeom>
        <a:solidFill>
          <a:schemeClr val="accent3">
            <a:alpha val="90000"/>
            <a:hueOff val="0"/>
            <a:satOff val="0"/>
            <a:lumOff val="0"/>
            <a:alphaOff val="-13333"/>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lvl="0" algn="ctr" defTabSz="1822450">
            <a:lnSpc>
              <a:spcPct val="90000"/>
            </a:lnSpc>
            <a:spcBef>
              <a:spcPct val="0"/>
            </a:spcBef>
            <a:spcAft>
              <a:spcPct val="35000"/>
            </a:spcAft>
          </a:pPr>
          <a:r>
            <a:rPr lang="es-ES" sz="4100" kern="1200" dirty="0" smtClean="0"/>
            <a:t>FASE 1 </a:t>
          </a:r>
          <a:endParaRPr lang="es-ES" sz="4100" kern="1200" dirty="0"/>
        </a:p>
      </dsp:txBody>
      <dsp:txXfrm>
        <a:off x="3698190" y="1644591"/>
        <a:ext cx="1869432" cy="1010624"/>
      </dsp:txXfrm>
    </dsp:sp>
    <dsp:sp modelId="{0B9C426C-FE12-4975-B092-E1B521E99D88}">
      <dsp:nvSpPr>
        <dsp:cNvPr id="0" name=""/>
        <dsp:cNvSpPr/>
      </dsp:nvSpPr>
      <dsp:spPr>
        <a:xfrm rot="5400000">
          <a:off x="4431624" y="2713495"/>
          <a:ext cx="402565" cy="483079"/>
        </a:xfrm>
        <a:prstGeom prst="rightArrow">
          <a:avLst>
            <a:gd name="adj1" fmla="val 60000"/>
            <a:gd name="adj2" fmla="val 50000"/>
          </a:avLst>
        </a:prstGeom>
        <a:solidFill>
          <a:schemeClr val="accent3">
            <a:shade val="90000"/>
            <a:hueOff val="446348"/>
            <a:satOff val="-27929"/>
            <a:lumOff val="22301"/>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s-ES" sz="1800" kern="1200"/>
        </a:p>
      </dsp:txBody>
      <dsp:txXfrm rot="-5400000">
        <a:off x="4487984" y="2753752"/>
        <a:ext cx="289847" cy="281796"/>
      </dsp:txXfrm>
    </dsp:sp>
    <dsp:sp modelId="{B868110E-7585-406D-8DAE-7A1A7BFEA5BC}">
      <dsp:nvSpPr>
        <dsp:cNvPr id="0" name=""/>
        <dsp:cNvSpPr/>
      </dsp:nvSpPr>
      <dsp:spPr>
        <a:xfrm>
          <a:off x="3666748" y="3223412"/>
          <a:ext cx="1932316" cy="1073508"/>
        </a:xfrm>
        <a:prstGeom prst="roundRect">
          <a:avLst>
            <a:gd name="adj" fmla="val 10000"/>
          </a:avLst>
        </a:prstGeom>
        <a:solidFill>
          <a:schemeClr val="accent3">
            <a:alpha val="90000"/>
            <a:hueOff val="0"/>
            <a:satOff val="0"/>
            <a:lumOff val="0"/>
            <a:alphaOff val="-26667"/>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lvl="0" algn="ctr" defTabSz="1822450">
            <a:lnSpc>
              <a:spcPct val="90000"/>
            </a:lnSpc>
            <a:spcBef>
              <a:spcPct val="0"/>
            </a:spcBef>
            <a:spcAft>
              <a:spcPct val="35000"/>
            </a:spcAft>
          </a:pPr>
          <a:r>
            <a:rPr lang="es-ES" sz="4100" kern="1200" dirty="0" smtClean="0"/>
            <a:t>FASE 2 </a:t>
          </a:r>
          <a:endParaRPr lang="es-ES" sz="4100" kern="1200" dirty="0"/>
        </a:p>
      </dsp:txBody>
      <dsp:txXfrm>
        <a:off x="3698190" y="3254854"/>
        <a:ext cx="1869432" cy="1010624"/>
      </dsp:txXfrm>
    </dsp:sp>
    <dsp:sp modelId="{F92E0816-08E0-4F0E-AAE8-54FCC4459CA9}">
      <dsp:nvSpPr>
        <dsp:cNvPr id="0" name=""/>
        <dsp:cNvSpPr/>
      </dsp:nvSpPr>
      <dsp:spPr>
        <a:xfrm rot="5400000">
          <a:off x="4431624" y="4323759"/>
          <a:ext cx="402565" cy="483079"/>
        </a:xfrm>
        <a:prstGeom prst="rightArrow">
          <a:avLst>
            <a:gd name="adj1" fmla="val 60000"/>
            <a:gd name="adj2" fmla="val 50000"/>
          </a:avLst>
        </a:prstGeom>
        <a:solidFill>
          <a:schemeClr val="accent3">
            <a:shade val="90000"/>
            <a:hueOff val="892697"/>
            <a:satOff val="-55859"/>
            <a:lumOff val="44602"/>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s-ES" sz="1800" kern="1200"/>
        </a:p>
      </dsp:txBody>
      <dsp:txXfrm rot="-5400000">
        <a:off x="4487984" y="4364016"/>
        <a:ext cx="289847" cy="281796"/>
      </dsp:txXfrm>
    </dsp:sp>
    <dsp:sp modelId="{73CAA413-7E99-47F2-80E6-BD84ACF5E73E}">
      <dsp:nvSpPr>
        <dsp:cNvPr id="0" name=""/>
        <dsp:cNvSpPr/>
      </dsp:nvSpPr>
      <dsp:spPr>
        <a:xfrm>
          <a:off x="3666748" y="4833676"/>
          <a:ext cx="1932316" cy="1073508"/>
        </a:xfrm>
        <a:prstGeom prst="roundRect">
          <a:avLst>
            <a:gd name="adj" fmla="val 10000"/>
          </a:avLst>
        </a:prstGeom>
        <a:solidFill>
          <a:schemeClr val="accent3">
            <a:alpha val="90000"/>
            <a:hueOff val="0"/>
            <a:satOff val="0"/>
            <a:lumOff val="0"/>
            <a:alphaOff val="-4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lvl="0" algn="ctr" defTabSz="1822450">
            <a:lnSpc>
              <a:spcPct val="90000"/>
            </a:lnSpc>
            <a:spcBef>
              <a:spcPct val="0"/>
            </a:spcBef>
            <a:spcAft>
              <a:spcPct val="35000"/>
            </a:spcAft>
          </a:pPr>
          <a:r>
            <a:rPr lang="es-ES" sz="4100" kern="1200" dirty="0" smtClean="0"/>
            <a:t>FASE 3 </a:t>
          </a:r>
          <a:endParaRPr lang="es-ES" sz="4100" kern="1200" dirty="0"/>
        </a:p>
      </dsp:txBody>
      <dsp:txXfrm>
        <a:off x="3698190" y="4865118"/>
        <a:ext cx="1869432" cy="101062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defTabSz="932688"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656B97E7-3517-BA49-9C61-BB0AA69F1F05}" type="datetimeFigureOut">
              <a:rPr lang="en-US"/>
              <a:pPr>
                <a:defRPr/>
              </a:pPr>
              <a:t>3/25/2017</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defTabSz="932688"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959BDC71-D924-834D-B117-7FF15E680F4D}" type="slidenum">
              <a:rPr lang="en-US"/>
              <a:pPr>
                <a:defRPr/>
              </a:pPr>
              <a:t>‹Nº›</a:t>
            </a:fld>
            <a:endParaRPr lang="en-US" dirty="0"/>
          </a:p>
        </p:txBody>
      </p:sp>
    </p:spTree>
    <p:extLst>
      <p:ext uri="{BB962C8B-B14F-4D97-AF65-F5344CB8AC3E}">
        <p14:creationId xmlns:p14="http://schemas.microsoft.com/office/powerpoint/2010/main" val="15067114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3177" tIns="46589" rIns="93177" bIns="46589" rtlCol="0"/>
          <a:lstStyle>
            <a:lvl1pPr algn="l" defTabSz="932688"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wrap="square" lIns="93177" tIns="46589" rIns="93177" bIns="46589"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144C36B2-748D-0D47-8AD2-1DD2B2E12A6E}" type="datetimeFigureOut">
              <a:rPr lang="en-US"/>
              <a:pPr>
                <a:defRPr/>
              </a:pPr>
              <a:t>3/25/2017</a:t>
            </a:fld>
            <a:endParaRPr lang="en-US" dirty="0"/>
          </a:p>
        </p:txBody>
      </p:sp>
      <p:sp>
        <p:nvSpPr>
          <p:cNvPr id="4" name="Slide Image Placeholder 3"/>
          <p:cNvSpPr>
            <a:spLocks noGrp="1" noRot="1" noChangeAspect="1"/>
          </p:cNvSpPr>
          <p:nvPr>
            <p:ph type="sldImg" idx="2"/>
          </p:nvPr>
        </p:nvSpPr>
        <p:spPr>
          <a:xfrm>
            <a:off x="715963" y="1162050"/>
            <a:ext cx="5578475" cy="313690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3177" tIns="46589" rIns="93177" bIns="46589" rtlCol="0" anchor="b"/>
          <a:lstStyle>
            <a:lvl1pPr algn="l" defTabSz="932688"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wrap="square" lIns="93177" tIns="46589" rIns="93177" bIns="46589"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7088D5E3-B0C4-244E-905F-C9848084E0A1}" type="slidenum">
              <a:rPr lang="en-US"/>
              <a:pPr>
                <a:defRPr/>
              </a:pPr>
              <a:t>‹Nº›</a:t>
            </a:fld>
            <a:endParaRPr lang="en-US" dirty="0"/>
          </a:p>
        </p:txBody>
      </p:sp>
    </p:spTree>
    <p:extLst>
      <p:ext uri="{BB962C8B-B14F-4D97-AF65-F5344CB8AC3E}">
        <p14:creationId xmlns:p14="http://schemas.microsoft.com/office/powerpoint/2010/main" val="1657721836"/>
      </p:ext>
    </p:extLst>
  </p:cSld>
  <p:clrMap bg1="lt1" tx1="dk1" bg2="lt2" tx2="dk2" accent1="accent1" accent2="accent2" accent3="accent3" accent4="accent4" accent5="accent5" accent6="accent6" hlink="hlink" folHlink="folHlink"/>
  <p:notesStyle>
    <a:lvl1pPr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6513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3186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9858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6531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en.wikipedia.org/wiki/Unit_testing#cite_note-4" TargetMode="External"/><Relationship Id="rId13" Type="http://schemas.openxmlformats.org/officeDocument/2006/relationships/hyperlink" Target="https://en.wikipedia.org/wiki/Mock_object#Mocks.2C_fakes.2C_and_stubs" TargetMode="External"/><Relationship Id="rId18" Type="http://schemas.openxmlformats.org/officeDocument/2006/relationships/hyperlink" Target="https://en.wikipedia.org/wiki/Test-driven_development#Fakes.2C_mocks_and_integration_tests" TargetMode="External"/><Relationship Id="rId26" Type="http://schemas.openxmlformats.org/officeDocument/2006/relationships/hyperlink" Target="https://en.wikipedia.org/wiki/Coupling_(computer_science)" TargetMode="External"/><Relationship Id="rId3" Type="http://schemas.openxmlformats.org/officeDocument/2006/relationships/hyperlink" Target="https://en.wikipedia.org/wiki/Procedural_programming" TargetMode="External"/><Relationship Id="rId21" Type="http://schemas.openxmlformats.org/officeDocument/2006/relationships/hyperlink" Target="https://en.wikipedia.org/wiki/Institute_of_Electrical_and_Electronics_Engineers" TargetMode="External"/><Relationship Id="rId7" Type="http://schemas.openxmlformats.org/officeDocument/2006/relationships/hyperlink" Target="https://en.wikipedia.org/wiki/White-box_testing" TargetMode="External"/><Relationship Id="rId12" Type="http://schemas.openxmlformats.org/officeDocument/2006/relationships/hyperlink" Target="https://en.wikipedia.org/wiki/Unit_testing#cite_note-mocksarentstubs-5" TargetMode="External"/><Relationship Id="rId17" Type="http://schemas.openxmlformats.org/officeDocument/2006/relationships/hyperlink" Target="https://en.wikipedia.org/wiki/Database" TargetMode="External"/><Relationship Id="rId25" Type="http://schemas.openxmlformats.org/officeDocument/2006/relationships/hyperlink" Target="https://en.wikipedia.org/wiki/Computer_data_logging" TargetMode="External"/><Relationship Id="rId2" Type="http://schemas.openxmlformats.org/officeDocument/2006/relationships/slide" Target="../slides/slide2.xml"/><Relationship Id="rId16" Type="http://schemas.openxmlformats.org/officeDocument/2006/relationships/hyperlink" Target="https://en.wikipedia.org/wiki/Reference_(computer_science)" TargetMode="External"/><Relationship Id="rId20" Type="http://schemas.openxmlformats.org/officeDocument/2006/relationships/hyperlink" Target="https://en.wikipedia.org/wiki/Test_automation" TargetMode="External"/><Relationship Id="rId1" Type="http://schemas.openxmlformats.org/officeDocument/2006/relationships/notesMaster" Target="../notesMasters/notesMaster1.xml"/><Relationship Id="rId6" Type="http://schemas.openxmlformats.org/officeDocument/2006/relationships/hyperlink" Target="https://en.wikipedia.org/wiki/Unit_testing#cite_note-3" TargetMode="External"/><Relationship Id="rId11" Type="http://schemas.openxmlformats.org/officeDocument/2006/relationships/hyperlink" Target="https://en.wikipedia.org/wiki/Mock_object" TargetMode="External"/><Relationship Id="rId24" Type="http://schemas.openxmlformats.org/officeDocument/2006/relationships/hyperlink" Target="https://en.wikipedia.org/wiki/Oracle_(software_testing)" TargetMode="External"/><Relationship Id="rId5" Type="http://schemas.openxmlformats.org/officeDocument/2006/relationships/hyperlink" Target="https://en.wikipedia.org/wiki/Unit_testing#cite_note-2" TargetMode="External"/><Relationship Id="rId15" Type="http://schemas.openxmlformats.org/officeDocument/2006/relationships/hyperlink" Target="https://en.wikipedia.org/wiki/Software_developer" TargetMode="External"/><Relationship Id="rId23" Type="http://schemas.openxmlformats.org/officeDocument/2006/relationships/hyperlink" Target="https://en.wikipedia.org/wiki/List_of_unit_testing_frameworks" TargetMode="External"/><Relationship Id="rId28" Type="http://schemas.openxmlformats.org/officeDocument/2006/relationships/hyperlink" Target="https://en.wikipedia.org/wiki/Design_pattern_(computer_science)" TargetMode="External"/><Relationship Id="rId10" Type="http://schemas.openxmlformats.org/officeDocument/2006/relationships/hyperlink" Target="https://en.wikipedia.org/wiki/Method_stub" TargetMode="External"/><Relationship Id="rId19" Type="http://schemas.openxmlformats.org/officeDocument/2006/relationships/hyperlink" Target="https://en.wikipedia.org/w/index.php?title=Unit_testing&amp;action=edit&amp;section=2" TargetMode="External"/><Relationship Id="rId4" Type="http://schemas.openxmlformats.org/officeDocument/2006/relationships/hyperlink" Target="https://en.wikipedia.org/wiki/Object-oriented_programming" TargetMode="External"/><Relationship Id="rId9" Type="http://schemas.openxmlformats.org/officeDocument/2006/relationships/hyperlink" Target="https://en.wikipedia.org/wiki/Test_case" TargetMode="External"/><Relationship Id="rId14" Type="http://schemas.openxmlformats.org/officeDocument/2006/relationships/hyperlink" Target="https://en.wikipedia.org/wiki/Test_harness" TargetMode="External"/><Relationship Id="rId22" Type="http://schemas.openxmlformats.org/officeDocument/2006/relationships/hyperlink" Target="https://en.wikipedia.org/wiki/Unit_testing#cite_note-6" TargetMode="External"/><Relationship Id="rId27" Type="http://schemas.openxmlformats.org/officeDocument/2006/relationships/hyperlink" Target="https://en.wikipedia.org/wiki/Cohesion_(computer_science)"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en.wikipedia.org/wiki/Unit_testing#cite_note-4" TargetMode="External"/><Relationship Id="rId13" Type="http://schemas.openxmlformats.org/officeDocument/2006/relationships/hyperlink" Target="https://en.wikipedia.org/wiki/Mock_object#Mocks.2C_fakes.2C_and_stubs" TargetMode="External"/><Relationship Id="rId18" Type="http://schemas.openxmlformats.org/officeDocument/2006/relationships/hyperlink" Target="https://en.wikipedia.org/wiki/Test-driven_development#Fakes.2C_mocks_and_integration_tests" TargetMode="External"/><Relationship Id="rId26" Type="http://schemas.openxmlformats.org/officeDocument/2006/relationships/hyperlink" Target="https://en.wikipedia.org/wiki/Coupling_(computer_science)" TargetMode="External"/><Relationship Id="rId3" Type="http://schemas.openxmlformats.org/officeDocument/2006/relationships/hyperlink" Target="https://en.wikipedia.org/wiki/Procedural_programming" TargetMode="External"/><Relationship Id="rId21" Type="http://schemas.openxmlformats.org/officeDocument/2006/relationships/hyperlink" Target="https://en.wikipedia.org/wiki/Institute_of_Electrical_and_Electronics_Engineers" TargetMode="External"/><Relationship Id="rId7" Type="http://schemas.openxmlformats.org/officeDocument/2006/relationships/hyperlink" Target="https://en.wikipedia.org/wiki/White-box_testing" TargetMode="External"/><Relationship Id="rId12" Type="http://schemas.openxmlformats.org/officeDocument/2006/relationships/hyperlink" Target="https://en.wikipedia.org/wiki/Unit_testing#cite_note-mocksarentstubs-5" TargetMode="External"/><Relationship Id="rId17" Type="http://schemas.openxmlformats.org/officeDocument/2006/relationships/hyperlink" Target="https://en.wikipedia.org/wiki/Database" TargetMode="External"/><Relationship Id="rId25" Type="http://schemas.openxmlformats.org/officeDocument/2006/relationships/hyperlink" Target="https://en.wikipedia.org/wiki/Computer_data_logging" TargetMode="External"/><Relationship Id="rId2" Type="http://schemas.openxmlformats.org/officeDocument/2006/relationships/slide" Target="../slides/slide3.xml"/><Relationship Id="rId16" Type="http://schemas.openxmlformats.org/officeDocument/2006/relationships/hyperlink" Target="https://en.wikipedia.org/wiki/Reference_(computer_science)" TargetMode="External"/><Relationship Id="rId20" Type="http://schemas.openxmlformats.org/officeDocument/2006/relationships/hyperlink" Target="https://en.wikipedia.org/wiki/Test_automation" TargetMode="External"/><Relationship Id="rId1" Type="http://schemas.openxmlformats.org/officeDocument/2006/relationships/notesMaster" Target="../notesMasters/notesMaster1.xml"/><Relationship Id="rId6" Type="http://schemas.openxmlformats.org/officeDocument/2006/relationships/hyperlink" Target="https://en.wikipedia.org/wiki/Unit_testing#cite_note-3" TargetMode="External"/><Relationship Id="rId11" Type="http://schemas.openxmlformats.org/officeDocument/2006/relationships/hyperlink" Target="https://en.wikipedia.org/wiki/Mock_object" TargetMode="External"/><Relationship Id="rId24" Type="http://schemas.openxmlformats.org/officeDocument/2006/relationships/hyperlink" Target="https://en.wikipedia.org/wiki/Oracle_(software_testing)" TargetMode="External"/><Relationship Id="rId5" Type="http://schemas.openxmlformats.org/officeDocument/2006/relationships/hyperlink" Target="https://en.wikipedia.org/wiki/Unit_testing#cite_note-2" TargetMode="External"/><Relationship Id="rId15" Type="http://schemas.openxmlformats.org/officeDocument/2006/relationships/hyperlink" Target="https://en.wikipedia.org/wiki/Software_developer" TargetMode="External"/><Relationship Id="rId23" Type="http://schemas.openxmlformats.org/officeDocument/2006/relationships/hyperlink" Target="https://en.wikipedia.org/wiki/List_of_unit_testing_frameworks" TargetMode="External"/><Relationship Id="rId28" Type="http://schemas.openxmlformats.org/officeDocument/2006/relationships/hyperlink" Target="https://en.wikipedia.org/wiki/Design_pattern_(computer_science)" TargetMode="External"/><Relationship Id="rId10" Type="http://schemas.openxmlformats.org/officeDocument/2006/relationships/hyperlink" Target="https://en.wikipedia.org/wiki/Method_stub" TargetMode="External"/><Relationship Id="rId19" Type="http://schemas.openxmlformats.org/officeDocument/2006/relationships/hyperlink" Target="https://en.wikipedia.org/w/index.php?title=Unit_testing&amp;action=edit&amp;section=2" TargetMode="External"/><Relationship Id="rId4" Type="http://schemas.openxmlformats.org/officeDocument/2006/relationships/hyperlink" Target="https://en.wikipedia.org/wiki/Object-oriented_programming" TargetMode="External"/><Relationship Id="rId9" Type="http://schemas.openxmlformats.org/officeDocument/2006/relationships/hyperlink" Target="https://en.wikipedia.org/wiki/Test_case" TargetMode="External"/><Relationship Id="rId14" Type="http://schemas.openxmlformats.org/officeDocument/2006/relationships/hyperlink" Target="https://en.wikipedia.org/wiki/Test_harness" TargetMode="External"/><Relationship Id="rId22" Type="http://schemas.openxmlformats.org/officeDocument/2006/relationships/hyperlink" Target="https://en.wikipedia.org/wiki/Unit_testing#cite_note-6" TargetMode="External"/><Relationship Id="rId27" Type="http://schemas.openxmlformats.org/officeDocument/2006/relationships/hyperlink" Target="https://en.wikipedia.org/wiki/Cohesion_(computer_science)"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en.wikipedia.org/wiki/Oracle_(software_testing)"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en.wikipedia.org/wiki/Computer_data_logging"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2737143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19</a:t>
            </a:fld>
            <a:endParaRPr lang="en-US" dirty="0"/>
          </a:p>
        </p:txBody>
      </p:sp>
    </p:spTree>
    <p:extLst>
      <p:ext uri="{BB962C8B-B14F-4D97-AF65-F5344CB8AC3E}">
        <p14:creationId xmlns:p14="http://schemas.microsoft.com/office/powerpoint/2010/main" val="230584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20</a:t>
            </a:fld>
            <a:endParaRPr lang="en-US" dirty="0"/>
          </a:p>
        </p:txBody>
      </p:sp>
    </p:spTree>
    <p:extLst>
      <p:ext uri="{BB962C8B-B14F-4D97-AF65-F5344CB8AC3E}">
        <p14:creationId xmlns:p14="http://schemas.microsoft.com/office/powerpoint/2010/main" val="7008862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21</a:t>
            </a:fld>
            <a:endParaRPr lang="en-US" dirty="0"/>
          </a:p>
        </p:txBody>
      </p:sp>
    </p:spTree>
    <p:extLst>
      <p:ext uri="{BB962C8B-B14F-4D97-AF65-F5344CB8AC3E}">
        <p14:creationId xmlns:p14="http://schemas.microsoft.com/office/powerpoint/2010/main" val="2305847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22</a:t>
            </a:fld>
            <a:endParaRPr lang="en-US" dirty="0"/>
          </a:p>
        </p:txBody>
      </p:sp>
    </p:spTree>
    <p:extLst>
      <p:ext uri="{BB962C8B-B14F-4D97-AF65-F5344CB8AC3E}">
        <p14:creationId xmlns:p14="http://schemas.microsoft.com/office/powerpoint/2010/main" val="230584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24</a:t>
            </a:fld>
            <a:endParaRPr lang="en-US" dirty="0"/>
          </a:p>
        </p:txBody>
      </p:sp>
    </p:spTree>
    <p:extLst>
      <p:ext uri="{BB962C8B-B14F-4D97-AF65-F5344CB8AC3E}">
        <p14:creationId xmlns:p14="http://schemas.microsoft.com/office/powerpoint/2010/main" val="32325989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26</a:t>
            </a:fld>
            <a:endParaRPr lang="en-US" dirty="0"/>
          </a:p>
        </p:txBody>
      </p:sp>
    </p:spTree>
    <p:extLst>
      <p:ext uri="{BB962C8B-B14F-4D97-AF65-F5344CB8AC3E}">
        <p14:creationId xmlns:p14="http://schemas.microsoft.com/office/powerpoint/2010/main" val="33855757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28</a:t>
            </a:fld>
            <a:endParaRPr lang="en-US" dirty="0"/>
          </a:p>
        </p:txBody>
      </p:sp>
    </p:spTree>
    <p:extLst>
      <p:ext uri="{BB962C8B-B14F-4D97-AF65-F5344CB8AC3E}">
        <p14:creationId xmlns:p14="http://schemas.microsoft.com/office/powerpoint/2010/main" val="151312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30</a:t>
            </a:fld>
            <a:endParaRPr lang="en-US" dirty="0"/>
          </a:p>
        </p:txBody>
      </p:sp>
    </p:spTree>
    <p:extLst>
      <p:ext uri="{BB962C8B-B14F-4D97-AF65-F5344CB8AC3E}">
        <p14:creationId xmlns:p14="http://schemas.microsoft.com/office/powerpoint/2010/main" val="2364821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33</a:t>
            </a:fld>
            <a:endParaRPr lang="en-US" dirty="0"/>
          </a:p>
        </p:txBody>
      </p:sp>
    </p:spTree>
    <p:extLst>
      <p:ext uri="{BB962C8B-B14F-4D97-AF65-F5344CB8AC3E}">
        <p14:creationId xmlns:p14="http://schemas.microsoft.com/office/powerpoint/2010/main" val="1983906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34</a:t>
            </a:fld>
            <a:endParaRPr lang="en-US" dirty="0"/>
          </a:p>
        </p:txBody>
      </p:sp>
    </p:spTree>
    <p:extLst>
      <p:ext uri="{BB962C8B-B14F-4D97-AF65-F5344CB8AC3E}">
        <p14:creationId xmlns:p14="http://schemas.microsoft.com/office/powerpoint/2010/main" val="556713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rtl="0"/>
            <a:r>
              <a:rPr lang="en-US" dirty="0" smtClean="0">
                <a:effectLst/>
              </a:rPr>
              <a:t>De la Wikipedia: https://en.wikipedia.org/wiki/Unit_testing</a:t>
            </a:r>
          </a:p>
          <a:p>
            <a:pPr rtl="0"/>
            <a:endParaRPr lang="en-US" dirty="0" smtClean="0">
              <a:effectLst/>
            </a:endParaRPr>
          </a:p>
          <a:p>
            <a:pPr rtl="0"/>
            <a:r>
              <a:rPr lang="en-US" dirty="0" smtClean="0">
                <a:effectLst/>
              </a:rPr>
              <a:t>Intuitively, one can view a unit as the smallest testable part of an application. In </a:t>
            </a:r>
            <a:r>
              <a:rPr lang="en-US" dirty="0" smtClean="0">
                <a:effectLst/>
                <a:hlinkClick r:id="rId3" tooltip="Procedural programming"/>
              </a:rPr>
              <a:t>procedural programming</a:t>
            </a:r>
            <a:r>
              <a:rPr lang="en-US" dirty="0" smtClean="0">
                <a:effectLst/>
              </a:rPr>
              <a:t>, a unit could be an entire module, but it is more commonly an individual function or procedure. In </a:t>
            </a:r>
            <a:r>
              <a:rPr lang="en-US" dirty="0" smtClean="0">
                <a:effectLst/>
                <a:hlinkClick r:id="rId4" tooltip="Object-oriented programming"/>
              </a:rPr>
              <a:t>object-oriented programming</a:t>
            </a:r>
            <a:r>
              <a:rPr lang="en-US" dirty="0" smtClean="0">
                <a:effectLst/>
              </a:rPr>
              <a:t>, a unit is often an entire interface, such as a class, but could be an individual method.</a:t>
            </a:r>
            <a:r>
              <a:rPr lang="en-US" baseline="30000" dirty="0" smtClean="0">
                <a:effectLst/>
                <a:hlinkClick r:id="rId5"/>
              </a:rPr>
              <a:t>[2]</a:t>
            </a:r>
            <a:r>
              <a:rPr lang="en-US" dirty="0" smtClean="0">
                <a:effectLst/>
              </a:rPr>
              <a:t> Unit tests are short code fragments</a:t>
            </a:r>
            <a:r>
              <a:rPr lang="en-US" baseline="30000" dirty="0" smtClean="0">
                <a:effectLst/>
                <a:hlinkClick r:id="rId6"/>
              </a:rPr>
              <a:t>[3]</a:t>
            </a:r>
            <a:r>
              <a:rPr lang="en-US" dirty="0" smtClean="0">
                <a:effectLst/>
              </a:rPr>
              <a:t> created by programmers or occasionally by </a:t>
            </a:r>
            <a:r>
              <a:rPr lang="en-US" dirty="0" smtClean="0">
                <a:effectLst/>
                <a:hlinkClick r:id="rId7" tooltip="White-box testing"/>
              </a:rPr>
              <a:t>white box testers</a:t>
            </a:r>
            <a:r>
              <a:rPr lang="en-US" dirty="0" smtClean="0">
                <a:effectLst/>
              </a:rPr>
              <a:t> during the development process. It forms the basis for component testing.</a:t>
            </a:r>
            <a:r>
              <a:rPr lang="en-US" baseline="30000" dirty="0" smtClean="0">
                <a:effectLst/>
                <a:hlinkClick r:id="rId8"/>
              </a:rPr>
              <a:t>[4]</a:t>
            </a:r>
            <a:endParaRPr lang="en-US" dirty="0" smtClean="0">
              <a:effectLst/>
            </a:endParaRPr>
          </a:p>
          <a:p>
            <a:pPr rtl="0"/>
            <a:r>
              <a:rPr lang="en-US" dirty="0" smtClean="0">
                <a:effectLst/>
              </a:rPr>
              <a:t>Ideally, each </a:t>
            </a:r>
            <a:r>
              <a:rPr lang="en-US" dirty="0" smtClean="0">
                <a:effectLst/>
                <a:hlinkClick r:id="rId9" tooltip="Test case"/>
              </a:rPr>
              <a:t>test case</a:t>
            </a:r>
            <a:r>
              <a:rPr lang="en-US" dirty="0" smtClean="0">
                <a:effectLst/>
              </a:rPr>
              <a:t> is independent from the others. Substitutes such as </a:t>
            </a:r>
            <a:r>
              <a:rPr lang="en-US" dirty="0" smtClean="0">
                <a:effectLst/>
                <a:hlinkClick r:id="rId10" tooltip="Method stub"/>
              </a:rPr>
              <a:t>method stubs</a:t>
            </a:r>
            <a:r>
              <a:rPr lang="en-US" dirty="0" smtClean="0">
                <a:effectLst/>
              </a:rPr>
              <a:t>, </a:t>
            </a:r>
            <a:r>
              <a:rPr lang="en-US" dirty="0" smtClean="0">
                <a:effectLst/>
                <a:hlinkClick r:id="rId11" tooltip="Mock object"/>
              </a:rPr>
              <a:t>mock objects</a:t>
            </a:r>
            <a:r>
              <a:rPr lang="en-US" dirty="0" smtClean="0">
                <a:effectLst/>
              </a:rPr>
              <a:t>,</a:t>
            </a:r>
            <a:r>
              <a:rPr lang="en-US" baseline="30000" dirty="0" smtClean="0">
                <a:effectLst/>
                <a:hlinkClick r:id="rId12"/>
              </a:rPr>
              <a:t>[5]</a:t>
            </a:r>
            <a:r>
              <a:rPr lang="en-US" dirty="0" smtClean="0">
                <a:effectLst/>
              </a:rPr>
              <a:t> </a:t>
            </a:r>
            <a:r>
              <a:rPr lang="en-US" dirty="0" smtClean="0">
                <a:effectLst/>
                <a:hlinkClick r:id="rId13" tooltip="Mock object"/>
              </a:rPr>
              <a:t>fakes</a:t>
            </a:r>
            <a:r>
              <a:rPr lang="en-US" dirty="0" smtClean="0">
                <a:effectLst/>
              </a:rPr>
              <a:t>, and </a:t>
            </a:r>
            <a:r>
              <a:rPr lang="en-US" dirty="0" smtClean="0">
                <a:effectLst/>
                <a:hlinkClick r:id="rId14" tooltip="Test harness"/>
              </a:rPr>
              <a:t>test harnesses</a:t>
            </a:r>
            <a:r>
              <a:rPr lang="en-US" dirty="0" smtClean="0">
                <a:effectLst/>
              </a:rPr>
              <a:t> can be used to assist testing a module in isolation. Unit tests are typically written and run by </a:t>
            </a:r>
            <a:r>
              <a:rPr lang="en-US" dirty="0" smtClean="0">
                <a:effectLst/>
                <a:hlinkClick r:id="rId15" tooltip="Software developer"/>
              </a:rPr>
              <a:t>software developers</a:t>
            </a:r>
            <a:r>
              <a:rPr lang="en-US" dirty="0" smtClean="0">
                <a:effectLst/>
              </a:rPr>
              <a:t> to ensure that code meets its design and behaves as intended.</a:t>
            </a:r>
          </a:p>
          <a:p>
            <a:pPr rtl="0"/>
            <a:r>
              <a:rPr lang="en-US" dirty="0" smtClean="0">
                <a:effectLst/>
              </a:rPr>
              <a:t>Because some classes may have </a:t>
            </a:r>
            <a:r>
              <a:rPr lang="en-US" dirty="0" smtClean="0">
                <a:effectLst/>
                <a:hlinkClick r:id="rId16" tooltip="Reference (computer science)"/>
              </a:rPr>
              <a:t>references</a:t>
            </a:r>
            <a:r>
              <a:rPr lang="en-US" dirty="0" smtClean="0">
                <a:effectLst/>
              </a:rPr>
              <a:t> to other classes, testing a class can frequently spill over into testing another class. A common example of this is classes that depend on a </a:t>
            </a:r>
            <a:r>
              <a:rPr lang="en-US" dirty="0" smtClean="0">
                <a:effectLst/>
                <a:hlinkClick r:id="rId17" tooltip="Database"/>
              </a:rPr>
              <a:t>database</a:t>
            </a:r>
            <a:r>
              <a:rPr lang="en-US" dirty="0" smtClean="0">
                <a:effectLst/>
              </a:rPr>
              <a:t>: in order to test the class, the tester often writes code that interacts with the database. This is a mistake, because a unit test should usually not go outside of its own class boundary, and especially should not cross such process/network boundaries because this can introduce unacceptable performance problems to the unit test-suite. Crossing such unit boundaries turns unit tests into integration tests, and when test cases fail, makes it less clear which component is causing the failure. See also </a:t>
            </a:r>
            <a:r>
              <a:rPr lang="en-US" dirty="0" smtClean="0">
                <a:effectLst/>
                <a:hlinkClick r:id="rId18" tooltip="Test-driven development"/>
              </a:rPr>
              <a:t>Fakes, mocks and integration tests</a:t>
            </a:r>
            <a:r>
              <a:rPr lang="en-US" dirty="0" smtClean="0">
                <a:effectLst/>
              </a:rPr>
              <a:t>. Instead, the software developer should create an abstract interface around the database queries, and then implement that interface with their own </a:t>
            </a:r>
            <a:r>
              <a:rPr lang="en-US" dirty="0" smtClean="0">
                <a:effectLst/>
                <a:hlinkClick r:id="rId11" tooltip="Mock object"/>
              </a:rPr>
              <a:t>mock object</a:t>
            </a:r>
            <a:r>
              <a:rPr lang="en-US" dirty="0" smtClean="0">
                <a:effectLst/>
              </a:rPr>
              <a:t>. By abstracting this necessary attachment from the code (temporarily reducing the net effective coupling), the independent unit can be more thoroughly tested than may have been previously achieved. This results in a higher-quality unit that is also more maintainable.</a:t>
            </a:r>
          </a:p>
          <a:p>
            <a:pPr rtl="0"/>
            <a:r>
              <a:rPr lang="en-US" b="1" dirty="0" smtClean="0">
                <a:effectLst/>
              </a:rPr>
              <a:t>Techniques[</a:t>
            </a:r>
            <a:r>
              <a:rPr lang="en-US" b="1" dirty="0" smtClean="0">
                <a:effectLst/>
                <a:hlinkClick r:id="rId19" tooltip="Edit section: Techniques"/>
              </a:rPr>
              <a:t>edit</a:t>
            </a:r>
            <a:r>
              <a:rPr lang="en-US" b="1" dirty="0" smtClean="0">
                <a:effectLst/>
              </a:rPr>
              <a:t>]</a:t>
            </a:r>
          </a:p>
          <a:p>
            <a:pPr rtl="0"/>
            <a:r>
              <a:rPr lang="en-US" dirty="0" smtClean="0">
                <a:effectLst/>
              </a:rPr>
              <a:t>Unit testing is commonly </a:t>
            </a:r>
            <a:r>
              <a:rPr lang="en-US" dirty="0" smtClean="0">
                <a:effectLst/>
                <a:hlinkClick r:id="rId20" tooltip="Test automation"/>
              </a:rPr>
              <a:t>automated</a:t>
            </a:r>
            <a:r>
              <a:rPr lang="en-US" dirty="0" smtClean="0">
                <a:effectLst/>
              </a:rPr>
              <a:t>, but may still be performed manually. The </a:t>
            </a:r>
            <a:r>
              <a:rPr lang="en-US" dirty="0" smtClean="0">
                <a:effectLst/>
                <a:hlinkClick r:id="rId21" tooltip="Institute of Electrical and Electronics Engineers"/>
              </a:rPr>
              <a:t>IEEE</a:t>
            </a:r>
            <a:r>
              <a:rPr lang="en-US" dirty="0" smtClean="0">
                <a:effectLst/>
              </a:rPr>
              <a:t> does not favor one over the other.</a:t>
            </a:r>
            <a:r>
              <a:rPr lang="en-US" baseline="30000" dirty="0" smtClean="0">
                <a:effectLst/>
                <a:hlinkClick r:id="rId22"/>
              </a:rPr>
              <a:t>[6]</a:t>
            </a:r>
            <a:r>
              <a:rPr lang="en-US" dirty="0" smtClean="0">
                <a:effectLst/>
              </a:rPr>
              <a:t> The objective in unit testing is to isolate a unit and validate its correctness. A manual approach to unit testing may employ a step-by-step instructional document. However, automation is efficient for achieving this, and enables the many benefits listed in this article. Conversely, if not planned carefully, a careless manual unit test case may execute as an integration test case that involves many software components, and thus preclude the achievement of most if not all of the goals established for unit testing.</a:t>
            </a:r>
          </a:p>
          <a:p>
            <a:pPr rtl="0"/>
            <a:r>
              <a:rPr lang="en-US" dirty="0" smtClean="0">
                <a:effectLst/>
              </a:rPr>
              <a:t>To fully realize the effect of isolation while using an automated approach, the unit or code body under test is executed within a </a:t>
            </a:r>
            <a:r>
              <a:rPr lang="en-US" dirty="0" smtClean="0">
                <a:effectLst/>
                <a:hlinkClick r:id="rId23" tooltip="List of unit testing frameworks"/>
              </a:rPr>
              <a:t>framework</a:t>
            </a:r>
            <a:r>
              <a:rPr lang="en-US" dirty="0" smtClean="0">
                <a:effectLst/>
              </a:rPr>
              <a:t> outside of its natural environment. In other words, it is executed outside of the product or calling context for which it was originally created. Testing in such an isolated manner reveals unnecessary dependencies between the code being tested and other units or data spaces in the product. These dependencies can then be eliminated.</a:t>
            </a:r>
          </a:p>
          <a:p>
            <a:pPr rtl="0"/>
            <a:r>
              <a:rPr lang="en-US" dirty="0" smtClean="0">
                <a:effectLst/>
              </a:rPr>
              <a:t>Using an automation framework, the developer codes criteria, or an </a:t>
            </a:r>
            <a:r>
              <a:rPr lang="en-US" dirty="0" smtClean="0">
                <a:effectLst/>
                <a:hlinkClick r:id="rId24" tooltip="Oracle (software testing)"/>
              </a:rPr>
              <a:t>oracle</a:t>
            </a:r>
            <a:r>
              <a:rPr lang="en-US" dirty="0" smtClean="0">
                <a:effectLst/>
              </a:rPr>
              <a:t> or result that is known to be good, into the test to verify the unit's correctness. During test case execution, the framework </a:t>
            </a:r>
            <a:r>
              <a:rPr lang="en-US" dirty="0" smtClean="0">
                <a:effectLst/>
                <a:hlinkClick r:id="rId25" tooltip="Computer data logging"/>
              </a:rPr>
              <a:t>logs</a:t>
            </a:r>
            <a:r>
              <a:rPr lang="en-US" dirty="0" smtClean="0">
                <a:effectLst/>
              </a:rPr>
              <a:t> tests that fail any criterion. Many frameworks will also automatically flag these failed test cases and report them in a summary. Depending upon the severity of a failure, the framework may halt subsequent testing.</a:t>
            </a:r>
          </a:p>
          <a:p>
            <a:pPr rtl="0"/>
            <a:r>
              <a:rPr lang="en-US" dirty="0" smtClean="0">
                <a:effectLst/>
              </a:rPr>
              <a:t>As a consequence, unit testing is traditionally a motivator for programmers to create </a:t>
            </a:r>
            <a:r>
              <a:rPr lang="en-US" dirty="0" smtClean="0">
                <a:effectLst/>
                <a:hlinkClick r:id="rId26" tooltip="Coupling (computer science)"/>
              </a:rPr>
              <a:t>decoupled</a:t>
            </a:r>
            <a:r>
              <a:rPr lang="en-US" dirty="0" smtClean="0">
                <a:effectLst/>
              </a:rPr>
              <a:t> and </a:t>
            </a:r>
            <a:r>
              <a:rPr lang="en-US" dirty="0" smtClean="0">
                <a:effectLst/>
                <a:hlinkClick r:id="rId27" tooltip="Cohesion (computer science)"/>
              </a:rPr>
              <a:t>cohesive</a:t>
            </a:r>
            <a:r>
              <a:rPr lang="en-US" dirty="0" smtClean="0">
                <a:effectLst/>
              </a:rPr>
              <a:t> code bodies. This practice promotes healthy habits in software development. </a:t>
            </a:r>
            <a:r>
              <a:rPr lang="en-US" dirty="0" smtClean="0">
                <a:effectLst/>
                <a:hlinkClick r:id="rId28" tooltip="Design pattern (computer science)"/>
              </a:rPr>
              <a:t>Design patterns</a:t>
            </a:r>
            <a:r>
              <a:rPr lang="en-US" dirty="0" smtClean="0">
                <a:effectLst/>
              </a:rPr>
              <a:t>, unit testing, and refactoring often work together so that the best solution may emerge.</a:t>
            </a:r>
          </a:p>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2</a:t>
            </a:fld>
            <a:endParaRPr lang="en-US" dirty="0"/>
          </a:p>
        </p:txBody>
      </p:sp>
    </p:spTree>
    <p:extLst>
      <p:ext uri="{BB962C8B-B14F-4D97-AF65-F5344CB8AC3E}">
        <p14:creationId xmlns:p14="http://schemas.microsoft.com/office/powerpoint/2010/main" val="18158879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35</a:t>
            </a:fld>
            <a:endParaRPr lang="en-US" dirty="0"/>
          </a:p>
        </p:txBody>
      </p:sp>
    </p:spTree>
    <p:extLst>
      <p:ext uri="{BB962C8B-B14F-4D97-AF65-F5344CB8AC3E}">
        <p14:creationId xmlns:p14="http://schemas.microsoft.com/office/powerpoint/2010/main" val="3305826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rtl="0"/>
            <a:r>
              <a:rPr lang="en-US" dirty="0" smtClean="0">
                <a:effectLst/>
              </a:rPr>
              <a:t>De la Wikipedia: https://en.wikipedia.org/wiki/Unit_testing</a:t>
            </a:r>
          </a:p>
          <a:p>
            <a:pPr rtl="0"/>
            <a:endParaRPr lang="en-US" dirty="0" smtClean="0">
              <a:effectLst/>
            </a:endParaRPr>
          </a:p>
          <a:p>
            <a:pPr rtl="0"/>
            <a:r>
              <a:rPr lang="en-US" dirty="0" smtClean="0">
                <a:effectLst/>
              </a:rPr>
              <a:t>Intuitively, one can view a unit as the smallest testable part of an application. In </a:t>
            </a:r>
            <a:r>
              <a:rPr lang="en-US" dirty="0" smtClean="0">
                <a:effectLst/>
                <a:hlinkClick r:id="rId3" tooltip="Procedural programming"/>
              </a:rPr>
              <a:t>procedural programming</a:t>
            </a:r>
            <a:r>
              <a:rPr lang="en-US" dirty="0" smtClean="0">
                <a:effectLst/>
              </a:rPr>
              <a:t>, a unit could be an entire module, but it is more commonly an individual function or procedure. In </a:t>
            </a:r>
            <a:r>
              <a:rPr lang="en-US" dirty="0" smtClean="0">
                <a:effectLst/>
                <a:hlinkClick r:id="rId4" tooltip="Object-oriented programming"/>
              </a:rPr>
              <a:t>object-oriented programming</a:t>
            </a:r>
            <a:r>
              <a:rPr lang="en-US" dirty="0" smtClean="0">
                <a:effectLst/>
              </a:rPr>
              <a:t>, a unit is often an entire interface, such as a class, but could be an individual method.</a:t>
            </a:r>
            <a:r>
              <a:rPr lang="en-US" baseline="30000" dirty="0" smtClean="0">
                <a:effectLst/>
                <a:hlinkClick r:id="rId5"/>
              </a:rPr>
              <a:t>[2]</a:t>
            </a:r>
            <a:r>
              <a:rPr lang="en-US" dirty="0" smtClean="0">
                <a:effectLst/>
              </a:rPr>
              <a:t> Unit tests are short code fragments</a:t>
            </a:r>
            <a:r>
              <a:rPr lang="en-US" baseline="30000" dirty="0" smtClean="0">
                <a:effectLst/>
                <a:hlinkClick r:id="rId6"/>
              </a:rPr>
              <a:t>[3]</a:t>
            </a:r>
            <a:r>
              <a:rPr lang="en-US" dirty="0" smtClean="0">
                <a:effectLst/>
              </a:rPr>
              <a:t> created by programmers or occasionally by </a:t>
            </a:r>
            <a:r>
              <a:rPr lang="en-US" dirty="0" smtClean="0">
                <a:effectLst/>
                <a:hlinkClick r:id="rId7" tooltip="White-box testing"/>
              </a:rPr>
              <a:t>white box testers</a:t>
            </a:r>
            <a:r>
              <a:rPr lang="en-US" dirty="0" smtClean="0">
                <a:effectLst/>
              </a:rPr>
              <a:t> during the development process. It forms the basis for component testing.</a:t>
            </a:r>
            <a:r>
              <a:rPr lang="en-US" baseline="30000" dirty="0" smtClean="0">
                <a:effectLst/>
                <a:hlinkClick r:id="rId8"/>
              </a:rPr>
              <a:t>[4]</a:t>
            </a:r>
            <a:endParaRPr lang="en-US" dirty="0" smtClean="0">
              <a:effectLst/>
            </a:endParaRPr>
          </a:p>
          <a:p>
            <a:pPr rtl="0"/>
            <a:r>
              <a:rPr lang="en-US" dirty="0" smtClean="0">
                <a:effectLst/>
              </a:rPr>
              <a:t>Ideally, each </a:t>
            </a:r>
            <a:r>
              <a:rPr lang="en-US" dirty="0" smtClean="0">
                <a:effectLst/>
                <a:hlinkClick r:id="rId9" tooltip="Test case"/>
              </a:rPr>
              <a:t>test case</a:t>
            </a:r>
            <a:r>
              <a:rPr lang="en-US" dirty="0" smtClean="0">
                <a:effectLst/>
              </a:rPr>
              <a:t> is independent from the others. Substitutes such as </a:t>
            </a:r>
            <a:r>
              <a:rPr lang="en-US" dirty="0" smtClean="0">
                <a:effectLst/>
                <a:hlinkClick r:id="rId10" tooltip="Method stub"/>
              </a:rPr>
              <a:t>method stubs</a:t>
            </a:r>
            <a:r>
              <a:rPr lang="en-US" dirty="0" smtClean="0">
                <a:effectLst/>
              </a:rPr>
              <a:t>, </a:t>
            </a:r>
            <a:r>
              <a:rPr lang="en-US" dirty="0" smtClean="0">
                <a:effectLst/>
                <a:hlinkClick r:id="rId11" tooltip="Mock object"/>
              </a:rPr>
              <a:t>mock objects</a:t>
            </a:r>
            <a:r>
              <a:rPr lang="en-US" dirty="0" smtClean="0">
                <a:effectLst/>
              </a:rPr>
              <a:t>,</a:t>
            </a:r>
            <a:r>
              <a:rPr lang="en-US" baseline="30000" dirty="0" smtClean="0">
                <a:effectLst/>
                <a:hlinkClick r:id="rId12"/>
              </a:rPr>
              <a:t>[5]</a:t>
            </a:r>
            <a:r>
              <a:rPr lang="en-US" dirty="0" smtClean="0">
                <a:effectLst/>
              </a:rPr>
              <a:t> </a:t>
            </a:r>
            <a:r>
              <a:rPr lang="en-US" dirty="0" smtClean="0">
                <a:effectLst/>
                <a:hlinkClick r:id="rId13" tooltip="Mock object"/>
              </a:rPr>
              <a:t>fakes</a:t>
            </a:r>
            <a:r>
              <a:rPr lang="en-US" dirty="0" smtClean="0">
                <a:effectLst/>
              </a:rPr>
              <a:t>, and </a:t>
            </a:r>
            <a:r>
              <a:rPr lang="en-US" dirty="0" smtClean="0">
                <a:effectLst/>
                <a:hlinkClick r:id="rId14" tooltip="Test harness"/>
              </a:rPr>
              <a:t>test harnesses</a:t>
            </a:r>
            <a:r>
              <a:rPr lang="en-US" dirty="0" smtClean="0">
                <a:effectLst/>
              </a:rPr>
              <a:t> can be used to assist testing a module in isolation. Unit tests are typically written and run by </a:t>
            </a:r>
            <a:r>
              <a:rPr lang="en-US" dirty="0" smtClean="0">
                <a:effectLst/>
                <a:hlinkClick r:id="rId15" tooltip="Software developer"/>
              </a:rPr>
              <a:t>software developers</a:t>
            </a:r>
            <a:r>
              <a:rPr lang="en-US" dirty="0" smtClean="0">
                <a:effectLst/>
              </a:rPr>
              <a:t> to ensure that code meets its design and behaves as intended.</a:t>
            </a:r>
          </a:p>
          <a:p>
            <a:pPr rtl="0"/>
            <a:r>
              <a:rPr lang="en-US" dirty="0" smtClean="0">
                <a:effectLst/>
              </a:rPr>
              <a:t>Because some classes may have </a:t>
            </a:r>
            <a:r>
              <a:rPr lang="en-US" dirty="0" smtClean="0">
                <a:effectLst/>
                <a:hlinkClick r:id="rId16" tooltip="Reference (computer science)"/>
              </a:rPr>
              <a:t>references</a:t>
            </a:r>
            <a:r>
              <a:rPr lang="en-US" dirty="0" smtClean="0">
                <a:effectLst/>
              </a:rPr>
              <a:t> to other classes, testing a class can frequently spill over into testing another class. A common example of this is classes that depend on a </a:t>
            </a:r>
            <a:r>
              <a:rPr lang="en-US" dirty="0" smtClean="0">
                <a:effectLst/>
                <a:hlinkClick r:id="rId17" tooltip="Database"/>
              </a:rPr>
              <a:t>database</a:t>
            </a:r>
            <a:r>
              <a:rPr lang="en-US" dirty="0" smtClean="0">
                <a:effectLst/>
              </a:rPr>
              <a:t>: in order to test the class, the tester often writes code that interacts with the database. This is a mistake, because a unit test should usually not go outside of its own class boundary, and especially should not cross such process/network boundaries because this can introduce unacceptable performance problems to the unit test-suite. Crossing such unit boundaries turns unit tests into integration tests, and when test cases fail, makes it less clear which component is causing the failure. See also </a:t>
            </a:r>
            <a:r>
              <a:rPr lang="en-US" dirty="0" smtClean="0">
                <a:effectLst/>
                <a:hlinkClick r:id="rId18" tooltip="Test-driven development"/>
              </a:rPr>
              <a:t>Fakes, mocks and integration tests</a:t>
            </a:r>
            <a:r>
              <a:rPr lang="en-US" dirty="0" smtClean="0">
                <a:effectLst/>
              </a:rPr>
              <a:t>. Instead, the software developer should create an abstract interface around the database queries, and then implement that interface with their own </a:t>
            </a:r>
            <a:r>
              <a:rPr lang="en-US" dirty="0" smtClean="0">
                <a:effectLst/>
                <a:hlinkClick r:id="rId11" tooltip="Mock object"/>
              </a:rPr>
              <a:t>mock object</a:t>
            </a:r>
            <a:r>
              <a:rPr lang="en-US" dirty="0" smtClean="0">
                <a:effectLst/>
              </a:rPr>
              <a:t>. By abstracting this necessary attachment from the code (temporarily reducing the net effective coupling), the independent unit can be more thoroughly tested than may have been previously achieved. This results in a higher-quality unit that is also more maintainable.</a:t>
            </a:r>
          </a:p>
          <a:p>
            <a:pPr rtl="0"/>
            <a:r>
              <a:rPr lang="en-US" b="1" dirty="0" smtClean="0">
                <a:effectLst/>
              </a:rPr>
              <a:t>Techniques[</a:t>
            </a:r>
            <a:r>
              <a:rPr lang="en-US" b="1" dirty="0" smtClean="0">
                <a:effectLst/>
                <a:hlinkClick r:id="rId19" tooltip="Edit section: Techniques"/>
              </a:rPr>
              <a:t>edit</a:t>
            </a:r>
            <a:r>
              <a:rPr lang="en-US" b="1" dirty="0" smtClean="0">
                <a:effectLst/>
              </a:rPr>
              <a:t>]</a:t>
            </a:r>
          </a:p>
          <a:p>
            <a:pPr rtl="0"/>
            <a:r>
              <a:rPr lang="en-US" dirty="0" smtClean="0">
                <a:effectLst/>
              </a:rPr>
              <a:t>Unit testing is commonly </a:t>
            </a:r>
            <a:r>
              <a:rPr lang="en-US" dirty="0" smtClean="0">
                <a:effectLst/>
                <a:hlinkClick r:id="rId20" tooltip="Test automation"/>
              </a:rPr>
              <a:t>automated</a:t>
            </a:r>
            <a:r>
              <a:rPr lang="en-US" dirty="0" smtClean="0">
                <a:effectLst/>
              </a:rPr>
              <a:t>, but may still be performed manually. The </a:t>
            </a:r>
            <a:r>
              <a:rPr lang="en-US" dirty="0" smtClean="0">
                <a:effectLst/>
                <a:hlinkClick r:id="rId21" tooltip="Institute of Electrical and Electronics Engineers"/>
              </a:rPr>
              <a:t>IEEE</a:t>
            </a:r>
            <a:r>
              <a:rPr lang="en-US" dirty="0" smtClean="0">
                <a:effectLst/>
              </a:rPr>
              <a:t> does not favor one over the other.</a:t>
            </a:r>
            <a:r>
              <a:rPr lang="en-US" baseline="30000" dirty="0" smtClean="0">
                <a:effectLst/>
                <a:hlinkClick r:id="rId22"/>
              </a:rPr>
              <a:t>[6]</a:t>
            </a:r>
            <a:r>
              <a:rPr lang="en-US" dirty="0" smtClean="0">
                <a:effectLst/>
              </a:rPr>
              <a:t> The objective in unit testing is to isolate a unit and validate its correctness. A manual approach to unit testing may employ a step-by-step instructional document. However, automation is efficient for achieving this, and enables the many benefits listed in this article. Conversely, if not planned carefully, a careless manual unit test case may execute as an integration test case that involves many software components, and thus preclude the achievement of most if not all of the goals established for unit testing.</a:t>
            </a:r>
          </a:p>
          <a:p>
            <a:pPr rtl="0"/>
            <a:r>
              <a:rPr lang="en-US" dirty="0" smtClean="0">
                <a:effectLst/>
              </a:rPr>
              <a:t>To fully realize the effect of isolation while using an automated approach, the unit or code body under test is executed within a </a:t>
            </a:r>
            <a:r>
              <a:rPr lang="en-US" dirty="0" smtClean="0">
                <a:effectLst/>
                <a:hlinkClick r:id="rId23" tooltip="List of unit testing frameworks"/>
              </a:rPr>
              <a:t>framework</a:t>
            </a:r>
            <a:r>
              <a:rPr lang="en-US" dirty="0" smtClean="0">
                <a:effectLst/>
              </a:rPr>
              <a:t> outside of its natural environment. In other words, it is executed outside of the product or calling context for which it was originally created. Testing in such an isolated manner reveals unnecessary dependencies between the code being tested and other units or data spaces in the product. These dependencies can then be eliminated.</a:t>
            </a:r>
          </a:p>
          <a:p>
            <a:pPr rtl="0"/>
            <a:r>
              <a:rPr lang="en-US" dirty="0" smtClean="0">
                <a:effectLst/>
              </a:rPr>
              <a:t>Using an automation framework, the developer codes criteria, or an </a:t>
            </a:r>
            <a:r>
              <a:rPr lang="en-US" dirty="0" smtClean="0">
                <a:effectLst/>
                <a:hlinkClick r:id="rId24" tooltip="Oracle (software testing)"/>
              </a:rPr>
              <a:t>oracle</a:t>
            </a:r>
            <a:r>
              <a:rPr lang="en-US" dirty="0" smtClean="0">
                <a:effectLst/>
              </a:rPr>
              <a:t> or result that is known to be good, into the test to verify the unit's correctness. During test case execution, the framework </a:t>
            </a:r>
            <a:r>
              <a:rPr lang="en-US" dirty="0" smtClean="0">
                <a:effectLst/>
                <a:hlinkClick r:id="rId25" tooltip="Computer data logging"/>
              </a:rPr>
              <a:t>logs</a:t>
            </a:r>
            <a:r>
              <a:rPr lang="en-US" dirty="0" smtClean="0">
                <a:effectLst/>
              </a:rPr>
              <a:t> tests that fail any criterion. Many frameworks will also automatically flag these failed test cases and report them in a summary. Depending upon the severity of a failure, the framework may halt subsequent testing.</a:t>
            </a:r>
          </a:p>
          <a:p>
            <a:pPr rtl="0"/>
            <a:r>
              <a:rPr lang="en-US" dirty="0" smtClean="0">
                <a:effectLst/>
              </a:rPr>
              <a:t>As a consequence, unit testing is traditionally a motivator for programmers to create </a:t>
            </a:r>
            <a:r>
              <a:rPr lang="en-US" dirty="0" smtClean="0">
                <a:effectLst/>
                <a:hlinkClick r:id="rId26" tooltip="Coupling (computer science)"/>
              </a:rPr>
              <a:t>decoupled</a:t>
            </a:r>
            <a:r>
              <a:rPr lang="en-US" dirty="0" smtClean="0">
                <a:effectLst/>
              </a:rPr>
              <a:t> and </a:t>
            </a:r>
            <a:r>
              <a:rPr lang="en-US" dirty="0" smtClean="0">
                <a:effectLst/>
                <a:hlinkClick r:id="rId27" tooltip="Cohesion (computer science)"/>
              </a:rPr>
              <a:t>cohesive</a:t>
            </a:r>
            <a:r>
              <a:rPr lang="en-US" dirty="0" smtClean="0">
                <a:effectLst/>
              </a:rPr>
              <a:t> code bodies. This practice promotes healthy habits in software development. </a:t>
            </a:r>
            <a:r>
              <a:rPr lang="en-US" dirty="0" smtClean="0">
                <a:effectLst/>
                <a:hlinkClick r:id="rId28" tooltip="Design pattern (computer science)"/>
              </a:rPr>
              <a:t>Design patterns</a:t>
            </a:r>
            <a:r>
              <a:rPr lang="en-US" dirty="0" smtClean="0">
                <a:effectLst/>
              </a:rPr>
              <a:t>, unit testing, and refactoring often work together so that the best solution may emerge.</a:t>
            </a:r>
          </a:p>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3</a:t>
            </a:fld>
            <a:endParaRPr lang="en-US" dirty="0"/>
          </a:p>
        </p:txBody>
      </p:sp>
    </p:spTree>
    <p:extLst>
      <p:ext uri="{BB962C8B-B14F-4D97-AF65-F5344CB8AC3E}">
        <p14:creationId xmlns:p14="http://schemas.microsoft.com/office/powerpoint/2010/main" val="1815887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smtClean="0">
                <a:effectLst/>
              </a:rPr>
              <a:t>Using an automation framework, the developer codes criteria, or an </a:t>
            </a:r>
            <a:r>
              <a:rPr lang="en-US" dirty="0" smtClean="0">
                <a:effectLst/>
                <a:hlinkClick r:id="rId3" tooltip="Oracle (software testing)"/>
              </a:rPr>
              <a:t>oracle</a:t>
            </a:r>
            <a:r>
              <a:rPr lang="en-US" dirty="0" smtClean="0">
                <a:effectLst/>
              </a:rPr>
              <a:t> or result that is known to be good, into the test to verify the unit's correctness. During test case execution, the framework </a:t>
            </a:r>
            <a:r>
              <a:rPr lang="en-US" dirty="0" smtClean="0">
                <a:effectLst/>
                <a:hlinkClick r:id="rId4" tooltip="Computer data logging"/>
              </a:rPr>
              <a:t>logs</a:t>
            </a:r>
            <a:r>
              <a:rPr lang="en-US" dirty="0" smtClean="0">
                <a:effectLst/>
              </a:rPr>
              <a:t> tests that fail any criterion. Many frameworks will also automatically flag these failed test cases and report them in a summary. Depending upon the severity of a failure, the framework may halt subsequent testing.</a:t>
            </a:r>
          </a:p>
          <a:p>
            <a:endParaRPr lang="en-US" dirty="0" smtClean="0">
              <a:effectLst/>
            </a:endParaRPr>
          </a:p>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5</a:t>
            </a:fld>
            <a:endParaRPr lang="en-US" dirty="0"/>
          </a:p>
        </p:txBody>
      </p:sp>
    </p:spTree>
    <p:extLst>
      <p:ext uri="{BB962C8B-B14F-4D97-AF65-F5344CB8AC3E}">
        <p14:creationId xmlns:p14="http://schemas.microsoft.com/office/powerpoint/2010/main" val="213610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12</a:t>
            </a:fld>
            <a:endParaRPr lang="en-US" dirty="0"/>
          </a:p>
        </p:txBody>
      </p:sp>
    </p:spTree>
    <p:extLst>
      <p:ext uri="{BB962C8B-B14F-4D97-AF65-F5344CB8AC3E}">
        <p14:creationId xmlns:p14="http://schemas.microsoft.com/office/powerpoint/2010/main" val="39308322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15</a:t>
            </a:fld>
            <a:endParaRPr lang="en-US" dirty="0"/>
          </a:p>
        </p:txBody>
      </p:sp>
    </p:spTree>
    <p:extLst>
      <p:ext uri="{BB962C8B-B14F-4D97-AF65-F5344CB8AC3E}">
        <p14:creationId xmlns:p14="http://schemas.microsoft.com/office/powerpoint/2010/main" val="230584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16</a:t>
            </a:fld>
            <a:endParaRPr lang="en-US" dirty="0"/>
          </a:p>
        </p:txBody>
      </p:sp>
    </p:spTree>
    <p:extLst>
      <p:ext uri="{BB962C8B-B14F-4D97-AF65-F5344CB8AC3E}">
        <p14:creationId xmlns:p14="http://schemas.microsoft.com/office/powerpoint/2010/main" val="230584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17</a:t>
            </a:fld>
            <a:endParaRPr lang="en-US" dirty="0"/>
          </a:p>
        </p:txBody>
      </p:sp>
    </p:spTree>
    <p:extLst>
      <p:ext uri="{BB962C8B-B14F-4D97-AF65-F5344CB8AC3E}">
        <p14:creationId xmlns:p14="http://schemas.microsoft.com/office/powerpoint/2010/main" val="2305847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7088D5E3-B0C4-244E-905F-C9848084E0A1}" type="slidenum">
              <a:rPr lang="en-US" smtClean="0"/>
              <a:pPr>
                <a:defRPr/>
              </a:pPr>
              <a:t>18</a:t>
            </a:fld>
            <a:endParaRPr lang="en-US" dirty="0"/>
          </a:p>
        </p:txBody>
      </p:sp>
    </p:spTree>
    <p:extLst>
      <p:ext uri="{BB962C8B-B14F-4D97-AF65-F5344CB8AC3E}">
        <p14:creationId xmlns:p14="http://schemas.microsoft.com/office/powerpoint/2010/main" val="2305847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11.jpe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image" Target="../media/image12.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13.jpe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image" Target="../media/image14.jpe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15.jpe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Nº›</a:t>
            </a:fld>
            <a:endParaRPr dirty="0"/>
          </a:p>
        </p:txBody>
      </p:sp>
    </p:spTree>
    <p:extLst>
      <p:ext uri="{BB962C8B-B14F-4D97-AF65-F5344CB8AC3E}">
        <p14:creationId xmlns:p14="http://schemas.microsoft.com/office/powerpoint/2010/main" val="2945256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18" y="-318"/>
            <a:ext cx="12435840" cy="6995160"/>
          </a:xfrm>
          <a:prstGeom prst="rect">
            <a:avLst/>
          </a:prstGeom>
        </p:spPr>
      </p:pic>
      <p:sp>
        <p:nvSpPr>
          <p:cNvPr id="7" name="Rectangle 6"/>
          <p:cNvSpPr/>
          <p:nvPr userDrawn="1"/>
        </p:nvSpPr>
        <p:spPr bwMode="auto">
          <a:xfrm>
            <a:off x="274638" y="296864"/>
            <a:ext cx="5486400" cy="54864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312303514"/>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6_Red Tile 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18" y="-318"/>
            <a:ext cx="12435840" cy="6995160"/>
          </a:xfrm>
          <a:prstGeom prst="rect">
            <a:avLst/>
          </a:prstGeom>
        </p:spPr>
      </p:pic>
      <p:sp>
        <p:nvSpPr>
          <p:cNvPr id="7" name="Rectangle 6"/>
          <p:cNvSpPr/>
          <p:nvPr userDrawn="1"/>
        </p:nvSpPr>
        <p:spPr bwMode="auto">
          <a:xfrm>
            <a:off x="274638" y="296864"/>
            <a:ext cx="5486400" cy="5486400"/>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59876332"/>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rgbClr val="C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04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39167554"/>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14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04190357"/>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25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0418430"/>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35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380247549"/>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45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365430012"/>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pic>
        <p:nvPicPr>
          <p:cNvPr id="7" name="Picture 9"/>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563" fontAlgn="auto">
              <a:spcBef>
                <a:spcPts val="0"/>
              </a:spcBef>
              <a:spcAft>
                <a:spcPts val="0"/>
              </a:spcAft>
              <a:defRPr/>
            </a:pPr>
            <a:r>
              <a:rPr lang="en-US" sz="1428" kern="1000" dirty="0">
                <a:solidFill>
                  <a:srgbClr val="FFFFFF"/>
                </a:solidFill>
                <a:latin typeface="Segoe UI Light"/>
                <a:ea typeface="+mn-ea"/>
                <a:cs typeface="+mn-cs"/>
              </a:rPr>
              <a:t>Your complete office in the cloud.</a:t>
            </a:r>
          </a:p>
        </p:txBody>
      </p:sp>
      <p:sp>
        <p:nvSpPr>
          <p:cNvPr id="2" name="Title 1"/>
          <p:cNvSpPr>
            <a:spLocks noGrp="1"/>
          </p:cNvSpPr>
          <p:nvPr>
            <p:ph type="ctrTitle"/>
          </p:nvPr>
        </p:nvSpPr>
        <p:spPr>
          <a:xfrm>
            <a:off x="613798" y="1969156"/>
            <a:ext cx="5080868" cy="627807"/>
          </a:xfrm>
        </p:spPr>
        <p:txBody>
          <a:bodyPr/>
          <a:lstStyle>
            <a:lvl1pPr>
              <a:defRPr sz="408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tx2"/>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tx2"/>
                </a:solidFill>
              </a:defRPr>
            </a:lvl1pPr>
          </a:lstStyle>
          <a:p>
            <a:r>
              <a:rPr dirty="0">
                <a:solidFill>
                  <a:srgbClr val="505050"/>
                </a:solidFill>
              </a:rPr>
              <a:t>Microsoft Confidential</a:t>
            </a: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pPr defTabSz="932563"/>
            <a:fld id="{27258FFF-F925-446B-8502-81C933981705}" type="slidenum">
              <a:rPr lang="en-US" smtClean="0"/>
              <a:pPr defTabSz="932563"/>
              <a:t>‹Nº›</a:t>
            </a:fld>
            <a:endParaRPr lang="en-US" dirty="0"/>
          </a:p>
        </p:txBody>
      </p:sp>
    </p:spTree>
    <p:extLst>
      <p:ext uri="{BB962C8B-B14F-4D97-AF65-F5344CB8AC3E}">
        <p14:creationId xmlns:p14="http://schemas.microsoft.com/office/powerpoint/2010/main" val="2545377636"/>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sp>
        <p:nvSpPr>
          <p:cNvPr id="2" name="Title 1"/>
          <p:cNvSpPr>
            <a:spLocks noGrp="1"/>
          </p:cNvSpPr>
          <p:nvPr>
            <p:ph type="ctrTitle"/>
          </p:nvPr>
        </p:nvSpPr>
        <p:spPr>
          <a:xfrm>
            <a:off x="6951896" y="1969156"/>
            <a:ext cx="5080868" cy="627807"/>
          </a:xfrm>
        </p:spPr>
        <p:txBody>
          <a:bodyPr/>
          <a:lstStyle>
            <a:lvl1pPr>
              <a:defRPr sz="408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09" rtl="0" eaLnBrk="1" latinLnBrk="0" hangingPunct="1">
              <a:spcBef>
                <a:spcPct val="0"/>
              </a:spcBef>
              <a:buNone/>
              <a:defRPr lang="en-US" sz="2040" b="0" i="0" kern="1200" baseline="0" dirty="0">
                <a:solidFill>
                  <a:schemeClr val="tx2"/>
                </a:solidFill>
                <a:latin typeface="Segoe UI Light"/>
                <a:ea typeface="+mj-ea"/>
                <a:cs typeface="Segoe UI Light"/>
              </a:defRPr>
            </a:lvl1pPr>
            <a:lvl2pPr marL="466209" indent="0" algn="ctr">
              <a:buNone/>
              <a:defRPr>
                <a:solidFill>
                  <a:schemeClr val="tx1">
                    <a:tint val="75000"/>
                  </a:schemeClr>
                </a:solidFill>
              </a:defRPr>
            </a:lvl2pPr>
            <a:lvl3pPr marL="932418" indent="0" algn="ctr">
              <a:buNone/>
              <a:defRPr>
                <a:solidFill>
                  <a:schemeClr val="tx1">
                    <a:tint val="75000"/>
                  </a:schemeClr>
                </a:solidFill>
              </a:defRPr>
            </a:lvl3pPr>
            <a:lvl4pPr marL="1398627" indent="0" algn="ctr">
              <a:buNone/>
              <a:defRPr>
                <a:solidFill>
                  <a:schemeClr val="tx1">
                    <a:tint val="75000"/>
                  </a:schemeClr>
                </a:solidFill>
              </a:defRPr>
            </a:lvl4pPr>
            <a:lvl5pPr marL="1864835" indent="0" algn="ctr">
              <a:buNone/>
              <a:defRPr>
                <a:solidFill>
                  <a:schemeClr val="tx1">
                    <a:tint val="75000"/>
                  </a:schemeClr>
                </a:solidFill>
              </a:defRPr>
            </a:lvl5pPr>
            <a:lvl6pPr marL="2331044" indent="0" algn="ctr">
              <a:buNone/>
              <a:defRPr>
                <a:solidFill>
                  <a:schemeClr val="tx1">
                    <a:tint val="75000"/>
                  </a:schemeClr>
                </a:solidFill>
              </a:defRPr>
            </a:lvl6pPr>
            <a:lvl7pPr marL="2797253" indent="0" algn="ctr">
              <a:buNone/>
              <a:defRPr>
                <a:solidFill>
                  <a:schemeClr val="tx1">
                    <a:tint val="75000"/>
                  </a:schemeClr>
                </a:solidFill>
              </a:defRPr>
            </a:lvl7pPr>
            <a:lvl8pPr marL="3263461" indent="0" algn="ctr">
              <a:buNone/>
              <a:defRPr>
                <a:solidFill>
                  <a:schemeClr val="tx1">
                    <a:tint val="75000"/>
                  </a:schemeClr>
                </a:solidFill>
              </a:defRPr>
            </a:lvl8pPr>
            <a:lvl9pPr marL="372966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dirty="0"/>
              <a:t>Microsoft Confidential</a:t>
            </a:r>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tx2"/>
                </a:solidFill>
              </a:defRPr>
            </a:lvl1pPr>
          </a:lstStyle>
          <a:p>
            <a:pPr defTabSz="932563"/>
            <a:fld id="{27258FFF-F925-446B-8502-81C933981705}" type="slidenum">
              <a:rPr lang="en-US" smtClean="0">
                <a:solidFill>
                  <a:srgbClr val="505050"/>
                </a:solidFill>
              </a:rPr>
              <a:pPr defTabSz="932563"/>
              <a:t>‹Nº›</a:t>
            </a:fld>
            <a:endParaRPr lang="en-US" dirty="0">
              <a:solidFill>
                <a:srgbClr val="505050"/>
              </a:solidFill>
            </a:endParaRPr>
          </a:p>
        </p:txBody>
      </p:sp>
    </p:spTree>
    <p:extLst>
      <p:ext uri="{BB962C8B-B14F-4D97-AF65-F5344CB8AC3E}">
        <p14:creationId xmlns:p14="http://schemas.microsoft.com/office/powerpoint/2010/main" val="4182950443"/>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5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tx2"/>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pPr defTabSz="932563"/>
            <a:fld id="{27258FFF-F925-446B-8502-81C933981705}" type="slidenum">
              <a:rPr lang="en-US" smtClean="0">
                <a:solidFill>
                  <a:srgbClr val="505050"/>
                </a:solidFill>
              </a:rPr>
              <a:pPr defTabSz="932563"/>
              <a:t>‹Nº›</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6342060"/>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Nº›</a:t>
            </a:fld>
            <a:endParaRPr dirty="0"/>
          </a:p>
        </p:txBody>
      </p:sp>
    </p:spTree>
    <p:extLst>
      <p:ext uri="{BB962C8B-B14F-4D97-AF65-F5344CB8AC3E}">
        <p14:creationId xmlns:p14="http://schemas.microsoft.com/office/powerpoint/2010/main" val="167712702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66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pPr defTabSz="932563"/>
            <a:fld id="{27258FFF-F925-446B-8502-81C933981705}" type="slidenum">
              <a:rPr lang="en-US" smtClean="0">
                <a:solidFill>
                  <a:srgbClr val="505050"/>
                </a:solidFill>
              </a:rPr>
              <a:pPr defTabSz="932563"/>
              <a:t>‹Nº›</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tx2"/>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65257892"/>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563"/>
            <a:fld id="{27258FFF-F925-446B-8502-81C933981705}" type="slidenum">
              <a:rPr lang="en-US" smtClean="0">
                <a:solidFill>
                  <a:srgbClr val="FFFFFF"/>
                </a:solidFill>
              </a:rPr>
              <a:pPr defTabSz="932563"/>
              <a:t>‹Nº›</a:t>
            </a:fld>
            <a:endParaRPr lang="en-US" dirty="0">
              <a:solidFill>
                <a:srgbClr val="FFFFFF"/>
              </a:solidFill>
            </a:endParaRPr>
          </a:p>
        </p:txBody>
      </p:sp>
    </p:spTree>
    <p:extLst>
      <p:ext uri="{BB962C8B-B14F-4D97-AF65-F5344CB8AC3E}">
        <p14:creationId xmlns:p14="http://schemas.microsoft.com/office/powerpoint/2010/main" val="818372266"/>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521209" y="375658"/>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a:t>
            </a:r>
            <a:r>
              <a:rPr lang="en-US"/>
              <a:t>to edit </a:t>
            </a:r>
            <a:r>
              <a:rPr lang="en-US" dirty="0"/>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6"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07284"/>
            <a:ext cx="3937000" cy="137160"/>
          </a:xfrm>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a:xfrm>
            <a:off x="11595101" y="6707284"/>
            <a:ext cx="566737" cy="137160"/>
          </a:xfrm>
        </p:spPr>
        <p:txBody>
          <a:bodyPr/>
          <a:lstStyle>
            <a:lvl1pPr>
              <a:defRPr>
                <a:solidFill>
                  <a:srgbClr val="505050"/>
                </a:solidFill>
              </a:defRPr>
            </a:lvl1pPr>
          </a:lstStyle>
          <a:p>
            <a:pPr defTabSz="932563"/>
            <a:fld id="{27258FFF-F925-446B-8502-81C933981705}" type="slidenum">
              <a:rPr lang="en-US" smtClean="0"/>
              <a:pPr defTabSz="932563"/>
              <a:t>‹Nº›</a:t>
            </a:fld>
            <a:endParaRPr lang="en-US" dirty="0"/>
          </a:p>
        </p:txBody>
      </p:sp>
    </p:spTree>
    <p:extLst>
      <p:ext uri="{BB962C8B-B14F-4D97-AF65-F5344CB8AC3E}">
        <p14:creationId xmlns:p14="http://schemas.microsoft.com/office/powerpoint/2010/main" val="1159216560"/>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stretch>
            <a:fillRect/>
          </a:stretch>
        </p:blipFill>
        <p:spPr>
          <a:xfrm>
            <a:off x="318" y="-318"/>
            <a:ext cx="12435840" cy="6995160"/>
          </a:xfrm>
          <a:prstGeom prst="rect">
            <a:avLst/>
          </a:prstGeom>
        </p:spPr>
      </p:pic>
      <p:sp>
        <p:nvSpPr>
          <p:cNvPr id="6" name="Rectangle 5"/>
          <p:cNvSpPr/>
          <p:nvPr userDrawn="1"/>
        </p:nvSpPr>
        <p:spPr>
          <a:xfrm>
            <a:off x="0" y="-1"/>
            <a:ext cx="12436475" cy="2806575"/>
          </a:xfrm>
          <a:prstGeom prst="rect">
            <a:avLst/>
          </a:prstGeom>
          <a:gradFill>
            <a:gsLst>
              <a:gs pos="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fontAlgn="auto">
              <a:spcBef>
                <a:spcPts val="0"/>
              </a:spcBef>
              <a:spcAft>
                <a:spcPts val="0"/>
              </a:spcAft>
              <a:defRPr/>
            </a:pPr>
            <a:endParaRPr lang="en-US" sz="1800" dirty="0">
              <a:solidFill>
                <a:srgbClr val="FFFFFF"/>
              </a:solidFill>
            </a:endParaRPr>
          </a:p>
        </p:txBody>
      </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76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smtClean="0">
                <a:solidFill>
                  <a:srgbClr val="FFFFFF"/>
                </a:solidFill>
              </a:rPr>
              <a:pPr defTabSz="932563"/>
              <a:t>‹Nº›</a:t>
            </a:fld>
            <a:endParaRPr lang="en-US" dirty="0">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675371598"/>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44pt Title Only">
    <p:spTree>
      <p:nvGrpSpPr>
        <p:cNvPr id="1" name=""/>
        <p:cNvGrpSpPr/>
        <p:nvPr/>
      </p:nvGrpSpPr>
      <p:grpSpPr>
        <a:xfrm>
          <a:off x="0" y="0"/>
          <a:ext cx="0" cy="0"/>
          <a:chOff x="0" y="0"/>
          <a:chExt cx="0" cy="0"/>
        </a:xfrm>
      </p:grpSpPr>
      <p:pic>
        <p:nvPicPr>
          <p:cNvPr id="9" name="Picture 2" descr="http://gigaom2.files.wordpress.com/2013/03/applesolarfarm2.jpg"/>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0" y="1"/>
            <a:ext cx="12436475" cy="699452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0" y="-1"/>
            <a:ext cx="12436475" cy="2806575"/>
          </a:xfrm>
          <a:prstGeom prst="rect">
            <a:avLst/>
          </a:prstGeom>
          <a:gradFill>
            <a:gsLst>
              <a:gs pos="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fontAlgn="auto">
              <a:spcBef>
                <a:spcPts val="0"/>
              </a:spcBef>
              <a:spcAft>
                <a:spcPts val="0"/>
              </a:spcAft>
              <a:defRPr/>
            </a:pPr>
            <a:endParaRPr lang="en-US" sz="1800" dirty="0">
              <a:solidFill>
                <a:srgbClr val="FFFFFF"/>
              </a:solidFill>
            </a:endParaRPr>
          </a:p>
        </p:txBody>
      </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86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smtClean="0">
                <a:solidFill>
                  <a:srgbClr val="FFFFFF"/>
                </a:solidFill>
              </a:rPr>
              <a:pPr defTabSz="932563"/>
              <a:t>‹Nº›</a:t>
            </a:fld>
            <a:endParaRPr lang="en-US" dirty="0">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01812444"/>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44pt Title Onl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a:stretch>
            <a:fillRect/>
          </a:stretch>
        </p:blipFill>
        <p:spPr>
          <a:xfrm>
            <a:off x="318" y="-318"/>
            <a:ext cx="12435840" cy="6995160"/>
          </a:xfrm>
          <a:prstGeom prst="rect">
            <a:avLst/>
          </a:prstGeom>
        </p:spPr>
      </p:pic>
      <p:sp>
        <p:nvSpPr>
          <p:cNvPr id="6" name="Rectangle 5"/>
          <p:cNvSpPr/>
          <p:nvPr userDrawn="1"/>
        </p:nvSpPr>
        <p:spPr>
          <a:xfrm>
            <a:off x="0" y="-1"/>
            <a:ext cx="12436475" cy="2806575"/>
          </a:xfrm>
          <a:prstGeom prst="rect">
            <a:avLst/>
          </a:prstGeom>
          <a:gradFill>
            <a:gsLst>
              <a:gs pos="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fontAlgn="auto">
              <a:spcBef>
                <a:spcPts val="0"/>
              </a:spcBef>
              <a:spcAft>
                <a:spcPts val="0"/>
              </a:spcAft>
              <a:defRPr/>
            </a:pPr>
            <a:endParaRPr lang="en-US" sz="1800" dirty="0">
              <a:solidFill>
                <a:srgbClr val="FFFFFF"/>
              </a:solidFill>
            </a:endParaRPr>
          </a:p>
        </p:txBody>
      </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96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smtClean="0">
                <a:solidFill>
                  <a:srgbClr val="FFFFFF"/>
                </a:solidFill>
              </a:rPr>
              <a:pPr defTabSz="932563"/>
              <a:t>‹Nº›</a:t>
            </a:fld>
            <a:endParaRPr lang="en-US" dirty="0">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807887710"/>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44pt Title Onl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stretch>
            <a:fillRect/>
          </a:stretch>
        </p:blipFill>
        <p:spPr>
          <a:xfrm>
            <a:off x="318" y="-318"/>
            <a:ext cx="12435840" cy="6995160"/>
          </a:xfrm>
          <a:prstGeom prst="rect">
            <a:avLst/>
          </a:prstGeom>
        </p:spPr>
      </p:pic>
      <p:sp>
        <p:nvSpPr>
          <p:cNvPr id="10" name="Rectangle 29"/>
          <p:cNvSpPr/>
          <p:nvPr userDrawn="1"/>
        </p:nvSpPr>
        <p:spPr bwMode="auto">
          <a:xfrm>
            <a:off x="5336" y="-23232"/>
            <a:ext cx="6946900" cy="7017757"/>
          </a:xfrm>
          <a:prstGeom prst="rect">
            <a:avLst/>
          </a:prstGeom>
          <a:gradFill flip="none" rotWithShape="1">
            <a:gsLst>
              <a:gs pos="30000">
                <a:schemeClr val="bg1">
                  <a:lumMod val="85000"/>
                  <a:alpha val="8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07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563"/>
            <a:fld id="{27258FFF-F925-446B-8502-81C933981705}" type="slidenum">
              <a:rPr lang="en-US" smtClean="0">
                <a:solidFill>
                  <a:srgbClr val="FFFFFF"/>
                </a:solidFill>
              </a:rPr>
              <a:pPr defTabSz="932563"/>
              <a:t>‹Nº›</a:t>
            </a:fld>
            <a:endParaRPr lang="en-US" dirty="0">
              <a:solidFill>
                <a:srgbClr val="FFFFFF"/>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tx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998466690"/>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44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stretch>
            <a:fillRect/>
          </a:stretch>
        </p:blipFill>
        <p:spPr>
          <a:xfrm>
            <a:off x="4128" y="-318"/>
            <a:ext cx="12428220" cy="6995160"/>
          </a:xfrm>
          <a:prstGeom prst="rect">
            <a:avLst/>
          </a:prstGeom>
        </p:spPr>
      </p:pic>
      <p:sp>
        <p:nvSpPr>
          <p:cNvPr id="9" name="Rectangle 8"/>
          <p:cNvSpPr/>
          <p:nvPr userDrawn="1"/>
        </p:nvSpPr>
        <p:spPr>
          <a:xfrm>
            <a:off x="0" y="-1"/>
            <a:ext cx="12436475" cy="2806575"/>
          </a:xfrm>
          <a:prstGeom prst="rect">
            <a:avLst/>
          </a:prstGeom>
          <a:gradFill>
            <a:gsLst>
              <a:gs pos="0">
                <a:schemeClr val="tx1">
                  <a:alpha val="62000"/>
                </a:schemeClr>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fontAlgn="auto">
              <a:spcBef>
                <a:spcPts val="0"/>
              </a:spcBef>
              <a:spcAft>
                <a:spcPts val="0"/>
              </a:spcAft>
              <a:defRPr/>
            </a:pPr>
            <a:endParaRPr lang="en-US" sz="1800" dirty="0">
              <a:solidFill>
                <a:srgbClr val="FFFFFF"/>
              </a:solidFill>
            </a:endParaRPr>
          </a:p>
        </p:txBody>
      </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17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563"/>
            <a:fld id="{27258FFF-F925-446B-8502-81C933981705}" type="slidenum">
              <a:rPr lang="en-US" smtClean="0">
                <a:solidFill>
                  <a:srgbClr val="505050"/>
                </a:solidFill>
              </a:rPr>
              <a:pPr defTabSz="932563"/>
              <a:t>‹Nº›</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249328552"/>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27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dirty="0"/>
              <a:t>Title</a:t>
            </a:r>
          </a:p>
        </p:txBody>
      </p:sp>
    </p:spTree>
    <p:extLst>
      <p:ext uri="{BB962C8B-B14F-4D97-AF65-F5344CB8AC3E}">
        <p14:creationId xmlns:p14="http://schemas.microsoft.com/office/powerpoint/2010/main" val="361362959"/>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37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dirty="0"/>
              <a:t>Title</a:t>
            </a:r>
          </a:p>
        </p:txBody>
      </p:sp>
    </p:spTree>
    <p:extLst>
      <p:ext uri="{BB962C8B-B14F-4D97-AF65-F5344CB8AC3E}">
        <p14:creationId xmlns:p14="http://schemas.microsoft.com/office/powerpoint/2010/main" val="2614289151"/>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Pattern Layout">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6" name="Freeform 16"/>
              <p:cNvSpPr>
                <a:spLocks noEditPoints="1"/>
              </p:cNvSpPr>
              <p:nvPr/>
            </p:nvSpPr>
            <p:spPr bwMode="auto">
              <a:xfrm>
                <a:off x="2813450"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7" name="Freeform 16"/>
              <p:cNvSpPr>
                <a:spLocks noEditPoints="1"/>
              </p:cNvSpPr>
              <p:nvPr/>
            </p:nvSpPr>
            <p:spPr bwMode="auto">
              <a:xfrm>
                <a:off x="3561317"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6" name="Freeform 16"/>
              <p:cNvSpPr>
                <a:spLocks noEditPoints="1"/>
              </p:cNvSpPr>
              <p:nvPr/>
            </p:nvSpPr>
            <p:spPr bwMode="auto">
              <a:xfrm>
                <a:off x="3085118" y="447540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7" name="Freeform 16"/>
              <p:cNvSpPr>
                <a:spLocks noEditPoints="1"/>
              </p:cNvSpPr>
              <p:nvPr/>
            </p:nvSpPr>
            <p:spPr bwMode="auto">
              <a:xfrm>
                <a:off x="9091905" y="3795393"/>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8" name="Freeform 16"/>
              <p:cNvSpPr>
                <a:spLocks noEditPoints="1"/>
              </p:cNvSpPr>
              <p:nvPr/>
            </p:nvSpPr>
            <p:spPr bwMode="auto">
              <a:xfrm>
                <a:off x="9838793" y="3795393"/>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9" name="Freeform 16"/>
              <p:cNvSpPr>
                <a:spLocks noEditPoints="1"/>
              </p:cNvSpPr>
              <p:nvPr/>
            </p:nvSpPr>
            <p:spPr bwMode="auto">
              <a:xfrm>
                <a:off x="9388436" y="319270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9" name="Freeform 16"/>
              <p:cNvSpPr>
                <a:spLocks noEditPoints="1"/>
              </p:cNvSpPr>
              <p:nvPr/>
            </p:nvSpPr>
            <p:spPr bwMode="auto">
              <a:xfrm>
                <a:off x="2851551" y="132375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0" name="Freeform 16"/>
              <p:cNvSpPr>
                <a:spLocks noEditPoints="1"/>
              </p:cNvSpPr>
              <p:nvPr/>
            </p:nvSpPr>
            <p:spPr bwMode="auto">
              <a:xfrm>
                <a:off x="3599417" y="132375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9" name="Freeform 16"/>
              <p:cNvSpPr>
                <a:spLocks noEditPoints="1"/>
              </p:cNvSpPr>
              <p:nvPr/>
            </p:nvSpPr>
            <p:spPr bwMode="auto">
              <a:xfrm>
                <a:off x="3123218"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28" name="Freeform 16"/>
              <p:cNvSpPr>
                <a:spLocks noEditPoints="1"/>
              </p:cNvSpPr>
              <p:nvPr/>
            </p:nvSpPr>
            <p:spPr bwMode="auto">
              <a:xfrm>
                <a:off x="9130005"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9" name="Freeform 16"/>
              <p:cNvSpPr>
                <a:spLocks noEditPoints="1"/>
              </p:cNvSpPr>
              <p:nvPr/>
            </p:nvSpPr>
            <p:spPr bwMode="auto">
              <a:xfrm>
                <a:off x="987689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 name="Freeform 16"/>
              <p:cNvSpPr>
                <a:spLocks noEditPoints="1"/>
              </p:cNvSpPr>
              <p:nvPr/>
            </p:nvSpPr>
            <p:spPr bwMode="auto">
              <a:xfrm>
                <a:off x="2813450"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 name="Freeform 16"/>
              <p:cNvSpPr>
                <a:spLocks noEditPoints="1"/>
              </p:cNvSpPr>
              <p:nvPr/>
            </p:nvSpPr>
            <p:spPr bwMode="auto">
              <a:xfrm>
                <a:off x="3561317"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 name="Freeform 16"/>
              <p:cNvSpPr>
                <a:spLocks noEditPoints="1"/>
              </p:cNvSpPr>
              <p:nvPr/>
            </p:nvSpPr>
            <p:spPr bwMode="auto">
              <a:xfrm>
                <a:off x="3085118" y="447540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 name="Freeform 16"/>
              <p:cNvSpPr>
                <a:spLocks noEditPoints="1"/>
              </p:cNvSpPr>
              <p:nvPr/>
            </p:nvSpPr>
            <p:spPr bwMode="auto">
              <a:xfrm>
                <a:off x="9838793" y="3795393"/>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4" name="Freeform 16"/>
              <p:cNvSpPr>
                <a:spLocks noEditPoints="1"/>
              </p:cNvSpPr>
              <p:nvPr/>
            </p:nvSpPr>
            <p:spPr bwMode="auto">
              <a:xfrm>
                <a:off x="2838852"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 name="Freeform 16"/>
              <p:cNvSpPr>
                <a:spLocks noEditPoints="1"/>
              </p:cNvSpPr>
              <p:nvPr/>
            </p:nvSpPr>
            <p:spPr bwMode="auto">
              <a:xfrm>
                <a:off x="3586717"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4" name="Freeform 16"/>
              <p:cNvSpPr>
                <a:spLocks noEditPoints="1"/>
              </p:cNvSpPr>
              <p:nvPr/>
            </p:nvSpPr>
            <p:spPr bwMode="auto">
              <a:xfrm>
                <a:off x="3110518" y="1897305"/>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3" name="Freeform 16"/>
              <p:cNvSpPr>
                <a:spLocks noEditPoints="1"/>
              </p:cNvSpPr>
              <p:nvPr/>
            </p:nvSpPr>
            <p:spPr bwMode="auto">
              <a:xfrm>
                <a:off x="2851551" y="132375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4" name="Freeform 16"/>
              <p:cNvSpPr>
                <a:spLocks noEditPoints="1"/>
              </p:cNvSpPr>
              <p:nvPr/>
            </p:nvSpPr>
            <p:spPr bwMode="auto">
              <a:xfrm>
                <a:off x="3599417" y="132375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3" name="Freeform 16"/>
              <p:cNvSpPr>
                <a:spLocks noEditPoints="1"/>
              </p:cNvSpPr>
              <p:nvPr/>
            </p:nvSpPr>
            <p:spPr bwMode="auto">
              <a:xfrm>
                <a:off x="3123218"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2" name="Freeform 16"/>
              <p:cNvSpPr>
                <a:spLocks noEditPoints="1"/>
              </p:cNvSpPr>
              <p:nvPr/>
            </p:nvSpPr>
            <p:spPr bwMode="auto">
              <a:xfrm>
                <a:off x="9130005"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3" name="Freeform 16"/>
              <p:cNvSpPr>
                <a:spLocks noEditPoints="1"/>
              </p:cNvSpPr>
              <p:nvPr/>
            </p:nvSpPr>
            <p:spPr bwMode="auto">
              <a:xfrm>
                <a:off x="987689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Nº›</a:t>
            </a:fld>
            <a:endParaRPr dirty="0"/>
          </a:p>
        </p:txBody>
      </p:sp>
      <p:grpSp>
        <p:nvGrpSpPr>
          <p:cNvPr id="2555" name="Group 2439"/>
          <p:cNvGrpSpPr/>
          <p:nvPr userDrawn="1"/>
        </p:nvGrpSpPr>
        <p:grpSpPr>
          <a:xfrm>
            <a:off x="75133" y="3565525"/>
            <a:ext cx="12348642" cy="3429000"/>
            <a:chOff x="75133" y="63500"/>
            <a:chExt cx="12348642" cy="3429000"/>
          </a:xfrm>
        </p:grpSpPr>
        <p:grpSp>
          <p:nvGrpSpPr>
            <p:cNvPr id="2556" name="Group 1364"/>
            <p:cNvGrpSpPr>
              <a:grpSpLocks noChangeAspect="1"/>
            </p:cNvGrpSpPr>
            <p:nvPr/>
          </p:nvGrpSpPr>
          <p:grpSpPr>
            <a:xfrm>
              <a:off x="75133" y="63500"/>
              <a:ext cx="6198230" cy="3429000"/>
              <a:chOff x="88900" y="16253"/>
              <a:chExt cx="12361342" cy="6838572"/>
            </a:xfrm>
          </p:grpSpPr>
          <p:sp>
            <p:nvSpPr>
              <p:cNvPr id="3194"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95"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96"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97"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98"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99"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0"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1"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2"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3"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4"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5"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6"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7"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8"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09"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0"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1"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2"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3"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4"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5"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6"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7"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8"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19"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0"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1"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2"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3"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4"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5"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6"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7"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8"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29"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30"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31"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32"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33" name="Group 740"/>
              <p:cNvGrpSpPr/>
              <p:nvPr/>
            </p:nvGrpSpPr>
            <p:grpSpPr>
              <a:xfrm>
                <a:off x="2143112" y="6384174"/>
                <a:ext cx="348520" cy="470651"/>
                <a:chOff x="7011958" y="-48945"/>
                <a:chExt cx="557213" cy="752475"/>
              </a:xfrm>
              <a:solidFill>
                <a:schemeClr val="tx1">
                  <a:alpha val="12000"/>
                </a:schemeClr>
              </a:solidFill>
            </p:grpSpPr>
            <p:sp>
              <p:nvSpPr>
                <p:cNvPr id="3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34" name="Group 746"/>
              <p:cNvGrpSpPr/>
              <p:nvPr/>
            </p:nvGrpSpPr>
            <p:grpSpPr>
              <a:xfrm>
                <a:off x="4559759" y="6384174"/>
                <a:ext cx="348520" cy="470651"/>
                <a:chOff x="7011958" y="-48945"/>
                <a:chExt cx="557213" cy="752475"/>
              </a:xfrm>
              <a:solidFill>
                <a:schemeClr val="tx1">
                  <a:alpha val="7000"/>
                </a:schemeClr>
              </a:solidFill>
            </p:grpSpPr>
            <p:sp>
              <p:nvSpPr>
                <p:cNvPr id="3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35"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36"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37"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38"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39"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40"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41"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42"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43" name="Group 740"/>
              <p:cNvGrpSpPr/>
              <p:nvPr/>
            </p:nvGrpSpPr>
            <p:grpSpPr>
              <a:xfrm>
                <a:off x="5930616" y="6384174"/>
                <a:ext cx="348520" cy="470651"/>
                <a:chOff x="7011958" y="-48945"/>
                <a:chExt cx="557213" cy="752475"/>
              </a:xfrm>
              <a:solidFill>
                <a:schemeClr val="tx1">
                  <a:alpha val="12000"/>
                </a:schemeClr>
              </a:solidFill>
            </p:grpSpPr>
            <p:sp>
              <p:nvSpPr>
                <p:cNvPr id="3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44"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45"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46"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47"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48" name="Group 746"/>
              <p:cNvGrpSpPr/>
              <p:nvPr/>
            </p:nvGrpSpPr>
            <p:grpSpPr>
              <a:xfrm>
                <a:off x="10744892" y="6384174"/>
                <a:ext cx="348520" cy="470651"/>
                <a:chOff x="7011958" y="-48945"/>
                <a:chExt cx="557213" cy="752475"/>
              </a:xfrm>
              <a:solidFill>
                <a:schemeClr val="tx1">
                  <a:alpha val="7000"/>
                </a:schemeClr>
              </a:solidFill>
            </p:grpSpPr>
            <p:sp>
              <p:nvSpPr>
                <p:cNvPr id="3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49"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50"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51" name="Group 781"/>
              <p:cNvGrpSpPr/>
              <p:nvPr/>
            </p:nvGrpSpPr>
            <p:grpSpPr>
              <a:xfrm>
                <a:off x="520986" y="5766031"/>
                <a:ext cx="612096" cy="486108"/>
                <a:chOff x="9258271" y="-45770"/>
                <a:chExt cx="925513" cy="735013"/>
              </a:xfrm>
              <a:solidFill>
                <a:schemeClr val="bg2">
                  <a:alpha val="38000"/>
                </a:schemeClr>
              </a:solidFill>
            </p:grpSpPr>
            <p:sp>
              <p:nvSpPr>
                <p:cNvPr id="3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52"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253"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3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54"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55"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56"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57"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58"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59"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60"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61"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62"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63" name="Group 740"/>
              <p:cNvGrpSpPr/>
              <p:nvPr/>
            </p:nvGrpSpPr>
            <p:grpSpPr>
              <a:xfrm>
                <a:off x="11309752" y="5781488"/>
                <a:ext cx="348520" cy="470651"/>
                <a:chOff x="7011958" y="-48945"/>
                <a:chExt cx="557213" cy="752475"/>
              </a:xfrm>
              <a:solidFill>
                <a:schemeClr val="tx1">
                  <a:alpha val="12000"/>
                </a:schemeClr>
              </a:solidFill>
            </p:grpSpPr>
            <p:sp>
              <p:nvSpPr>
                <p:cNvPr id="3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64"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65"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66"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67"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68"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69"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70"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71"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72"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73"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74" name="Group 746"/>
              <p:cNvGrpSpPr/>
              <p:nvPr/>
            </p:nvGrpSpPr>
            <p:grpSpPr>
              <a:xfrm>
                <a:off x="2852473" y="5781488"/>
                <a:ext cx="348520" cy="470651"/>
                <a:chOff x="7011958" y="-48945"/>
                <a:chExt cx="557213" cy="752475"/>
              </a:xfrm>
              <a:solidFill>
                <a:schemeClr val="tx1">
                  <a:alpha val="7000"/>
                </a:schemeClr>
              </a:solidFill>
            </p:grpSpPr>
            <p:sp>
              <p:nvSpPr>
                <p:cNvPr id="3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75"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76"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77"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78"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3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79"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0"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1"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2"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83" name="Group 740"/>
              <p:cNvGrpSpPr/>
              <p:nvPr/>
            </p:nvGrpSpPr>
            <p:grpSpPr>
              <a:xfrm>
                <a:off x="4495231" y="5781488"/>
                <a:ext cx="348520" cy="470651"/>
                <a:chOff x="7011958" y="-48945"/>
                <a:chExt cx="557213" cy="752475"/>
              </a:xfrm>
              <a:solidFill>
                <a:schemeClr val="tx1">
                  <a:alpha val="12000"/>
                </a:schemeClr>
              </a:solidFill>
            </p:grpSpPr>
            <p:sp>
              <p:nvSpPr>
                <p:cNvPr id="3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84"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5"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6"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7"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8"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9"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0"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1"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2"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3"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4"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5"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6"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7"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98" name="Group 740"/>
              <p:cNvGrpSpPr/>
              <p:nvPr/>
            </p:nvGrpSpPr>
            <p:grpSpPr>
              <a:xfrm>
                <a:off x="7781911" y="5093639"/>
                <a:ext cx="348520" cy="470651"/>
                <a:chOff x="7011958" y="-48945"/>
                <a:chExt cx="557213" cy="752475"/>
              </a:xfrm>
              <a:solidFill>
                <a:schemeClr val="tx1">
                  <a:alpha val="12000"/>
                </a:schemeClr>
              </a:solidFill>
            </p:grpSpPr>
            <p:sp>
              <p:nvSpPr>
                <p:cNvPr id="3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99" name="Group 746"/>
              <p:cNvGrpSpPr/>
              <p:nvPr/>
            </p:nvGrpSpPr>
            <p:grpSpPr>
              <a:xfrm>
                <a:off x="10201492" y="5093639"/>
                <a:ext cx="348520" cy="470651"/>
                <a:chOff x="7011958" y="-48945"/>
                <a:chExt cx="557213" cy="752475"/>
              </a:xfrm>
              <a:solidFill>
                <a:schemeClr val="tx1">
                  <a:alpha val="7000"/>
                </a:schemeClr>
              </a:solidFill>
            </p:grpSpPr>
            <p:sp>
              <p:nvSpPr>
                <p:cNvPr id="3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00"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01"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02"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03"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04" name="Group 740"/>
              <p:cNvGrpSpPr/>
              <p:nvPr/>
            </p:nvGrpSpPr>
            <p:grpSpPr>
              <a:xfrm>
                <a:off x="11574305" y="5093639"/>
                <a:ext cx="348520" cy="470651"/>
                <a:chOff x="7011958" y="-48945"/>
                <a:chExt cx="557213" cy="752475"/>
              </a:xfrm>
              <a:solidFill>
                <a:schemeClr val="tx1">
                  <a:alpha val="12000"/>
                </a:schemeClr>
              </a:solidFill>
            </p:grpSpPr>
            <p:sp>
              <p:nvSpPr>
                <p:cNvPr id="3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05" name="Group 781"/>
              <p:cNvGrpSpPr/>
              <p:nvPr/>
            </p:nvGrpSpPr>
            <p:grpSpPr>
              <a:xfrm>
                <a:off x="6103830" y="4470631"/>
                <a:ext cx="612096" cy="486108"/>
                <a:chOff x="9258271" y="-45770"/>
                <a:chExt cx="925513" cy="735013"/>
              </a:xfrm>
              <a:solidFill>
                <a:schemeClr val="bg2">
                  <a:alpha val="38000"/>
                </a:schemeClr>
              </a:solidFill>
            </p:grpSpPr>
            <p:sp>
              <p:nvSpPr>
                <p:cNvPr id="3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06"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3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07"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08"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09"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10" name="Group 746"/>
              <p:cNvGrpSpPr/>
              <p:nvPr/>
            </p:nvGrpSpPr>
            <p:grpSpPr>
              <a:xfrm>
                <a:off x="8463837" y="4486088"/>
                <a:ext cx="348520" cy="470651"/>
                <a:chOff x="7011958" y="-48945"/>
                <a:chExt cx="557213" cy="752475"/>
              </a:xfrm>
              <a:solidFill>
                <a:schemeClr val="tx1">
                  <a:alpha val="7000"/>
                </a:schemeClr>
              </a:solidFill>
            </p:grpSpPr>
            <p:sp>
              <p:nvSpPr>
                <p:cNvPr id="3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11"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12"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13"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14"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3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15"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16"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17"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18"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19" name="Group 740"/>
              <p:cNvGrpSpPr/>
              <p:nvPr/>
            </p:nvGrpSpPr>
            <p:grpSpPr>
              <a:xfrm>
                <a:off x="10109715" y="4486088"/>
                <a:ext cx="348520" cy="470651"/>
                <a:chOff x="7011958" y="-48945"/>
                <a:chExt cx="557213" cy="752475"/>
              </a:xfrm>
              <a:solidFill>
                <a:schemeClr val="tx1">
                  <a:alpha val="12000"/>
                </a:schemeClr>
              </a:solidFill>
            </p:grpSpPr>
            <p:sp>
              <p:nvSpPr>
                <p:cNvPr id="3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20"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1"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2"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3"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4"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5"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6"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7" name="Freeform 16"/>
              <p:cNvSpPr>
                <a:spLocks noEditPoints="1"/>
              </p:cNvSpPr>
              <p:nvPr/>
            </p:nvSpPr>
            <p:spPr bwMode="auto">
              <a:xfrm>
                <a:off x="2813450"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8" name="Freeform 16"/>
              <p:cNvSpPr>
                <a:spLocks noEditPoints="1"/>
              </p:cNvSpPr>
              <p:nvPr/>
            </p:nvSpPr>
            <p:spPr bwMode="auto">
              <a:xfrm>
                <a:off x="3561317"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9"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0"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31" name="Group 746"/>
              <p:cNvGrpSpPr/>
              <p:nvPr/>
            </p:nvGrpSpPr>
            <p:grpSpPr>
              <a:xfrm>
                <a:off x="4493794" y="5093639"/>
                <a:ext cx="348520" cy="470651"/>
                <a:chOff x="7011958" y="-48945"/>
                <a:chExt cx="557213" cy="752475"/>
              </a:xfrm>
              <a:solidFill>
                <a:schemeClr val="tx1">
                  <a:alpha val="7000"/>
                </a:schemeClr>
              </a:solidFill>
            </p:grpSpPr>
            <p:sp>
              <p:nvSpPr>
                <p:cNvPr id="3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32"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3"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4"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35"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6"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7"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8"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9"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0"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1"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2"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3"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44" name="Group 740"/>
              <p:cNvGrpSpPr/>
              <p:nvPr/>
            </p:nvGrpSpPr>
            <p:grpSpPr>
              <a:xfrm>
                <a:off x="5035577" y="4486088"/>
                <a:ext cx="348520" cy="470651"/>
                <a:chOff x="7011958" y="-48945"/>
                <a:chExt cx="557213" cy="752475"/>
              </a:xfrm>
              <a:solidFill>
                <a:schemeClr val="tx1">
                  <a:alpha val="12000"/>
                </a:schemeClr>
              </a:solidFill>
            </p:grpSpPr>
            <p:sp>
              <p:nvSpPr>
                <p:cNvPr id="3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45"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6"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7" name="Freeform 16"/>
              <p:cNvSpPr>
                <a:spLocks noEditPoints="1"/>
              </p:cNvSpPr>
              <p:nvPr/>
            </p:nvSpPr>
            <p:spPr bwMode="auto">
              <a:xfrm>
                <a:off x="3085118" y="447540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8"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9"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0"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1"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2"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3"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4"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5"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6"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7"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8"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9"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60"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61"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62"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63"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64"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65"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66"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67" name="Group 740"/>
              <p:cNvGrpSpPr/>
              <p:nvPr/>
            </p:nvGrpSpPr>
            <p:grpSpPr>
              <a:xfrm>
                <a:off x="2168512" y="3806074"/>
                <a:ext cx="348520" cy="470651"/>
                <a:chOff x="7011958" y="-48945"/>
                <a:chExt cx="557213" cy="752475"/>
              </a:xfrm>
              <a:solidFill>
                <a:schemeClr val="tx1">
                  <a:alpha val="12000"/>
                </a:schemeClr>
              </a:solidFill>
            </p:grpSpPr>
            <p:sp>
              <p:nvSpPr>
                <p:cNvPr id="3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68" name="Group 746"/>
              <p:cNvGrpSpPr/>
              <p:nvPr/>
            </p:nvGrpSpPr>
            <p:grpSpPr>
              <a:xfrm>
                <a:off x="4585159" y="3806074"/>
                <a:ext cx="348520" cy="470651"/>
                <a:chOff x="7011958" y="-48945"/>
                <a:chExt cx="557213" cy="752475"/>
              </a:xfrm>
              <a:solidFill>
                <a:schemeClr val="tx1">
                  <a:alpha val="7000"/>
                </a:schemeClr>
              </a:solidFill>
            </p:grpSpPr>
            <p:sp>
              <p:nvSpPr>
                <p:cNvPr id="3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69"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0"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1"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2"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3"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4"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5"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6"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77" name="Group 740"/>
              <p:cNvGrpSpPr/>
              <p:nvPr/>
            </p:nvGrpSpPr>
            <p:grpSpPr>
              <a:xfrm>
                <a:off x="5956016" y="3806074"/>
                <a:ext cx="348520" cy="470651"/>
                <a:chOff x="7011958" y="-48945"/>
                <a:chExt cx="557213" cy="752475"/>
              </a:xfrm>
              <a:solidFill>
                <a:schemeClr val="tx1">
                  <a:alpha val="12000"/>
                </a:schemeClr>
              </a:solidFill>
            </p:grpSpPr>
            <p:sp>
              <p:nvSpPr>
                <p:cNvPr id="3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78" name="Freeform 16"/>
              <p:cNvSpPr>
                <a:spLocks noEditPoints="1"/>
              </p:cNvSpPr>
              <p:nvPr/>
            </p:nvSpPr>
            <p:spPr bwMode="auto">
              <a:xfrm>
                <a:off x="9091905" y="3795393"/>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9" name="Freeform 16"/>
              <p:cNvSpPr>
                <a:spLocks noEditPoints="1"/>
              </p:cNvSpPr>
              <p:nvPr/>
            </p:nvSpPr>
            <p:spPr bwMode="auto">
              <a:xfrm>
                <a:off x="9838793" y="3795393"/>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80"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81"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82" name="Group 746"/>
              <p:cNvGrpSpPr/>
              <p:nvPr/>
            </p:nvGrpSpPr>
            <p:grpSpPr>
              <a:xfrm>
                <a:off x="10770292" y="3806074"/>
                <a:ext cx="348520" cy="470651"/>
                <a:chOff x="7011958" y="-48945"/>
                <a:chExt cx="557213" cy="752475"/>
              </a:xfrm>
              <a:solidFill>
                <a:schemeClr val="tx1">
                  <a:alpha val="7000"/>
                </a:schemeClr>
              </a:solidFill>
            </p:grpSpPr>
            <p:sp>
              <p:nvSpPr>
                <p:cNvPr id="37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83"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84"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85" name="Group 781"/>
              <p:cNvGrpSpPr/>
              <p:nvPr/>
            </p:nvGrpSpPr>
            <p:grpSpPr>
              <a:xfrm>
                <a:off x="520986" y="3124431"/>
                <a:ext cx="612096" cy="486108"/>
                <a:chOff x="9258271" y="-45770"/>
                <a:chExt cx="925513" cy="735013"/>
              </a:xfrm>
              <a:solidFill>
                <a:schemeClr val="bg2">
                  <a:alpha val="38000"/>
                </a:schemeClr>
              </a:solidFill>
            </p:grpSpPr>
            <p:sp>
              <p:nvSpPr>
                <p:cNvPr id="37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86"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387"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371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88"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89"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0"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1"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2"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3"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4"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5"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6"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97" name="Group 740"/>
              <p:cNvGrpSpPr/>
              <p:nvPr/>
            </p:nvGrpSpPr>
            <p:grpSpPr>
              <a:xfrm>
                <a:off x="11335152" y="3139888"/>
                <a:ext cx="348520" cy="470651"/>
                <a:chOff x="7011958" y="-48945"/>
                <a:chExt cx="557213" cy="752475"/>
              </a:xfrm>
              <a:solidFill>
                <a:schemeClr val="tx1">
                  <a:alpha val="12000"/>
                </a:schemeClr>
              </a:solidFill>
            </p:grpSpPr>
            <p:sp>
              <p:nvSpPr>
                <p:cNvPr id="37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98"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9"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0" name="Freeform 16"/>
              <p:cNvSpPr>
                <a:spLocks noEditPoints="1"/>
              </p:cNvSpPr>
              <p:nvPr/>
            </p:nvSpPr>
            <p:spPr bwMode="auto">
              <a:xfrm>
                <a:off x="9388436" y="319270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1"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2"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3"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4"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5"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6"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7"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08" name="Group 746"/>
              <p:cNvGrpSpPr/>
              <p:nvPr/>
            </p:nvGrpSpPr>
            <p:grpSpPr>
              <a:xfrm>
                <a:off x="2877873" y="3139888"/>
                <a:ext cx="348520" cy="470651"/>
                <a:chOff x="7011958" y="-48945"/>
                <a:chExt cx="557213" cy="752475"/>
              </a:xfrm>
              <a:solidFill>
                <a:schemeClr val="tx1">
                  <a:alpha val="7000"/>
                </a:schemeClr>
              </a:solidFill>
            </p:grpSpPr>
            <p:sp>
              <p:nvSpPr>
                <p:cNvPr id="37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09"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0"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1"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12"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37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13"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4"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5"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6"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17" name="Group 740"/>
              <p:cNvGrpSpPr/>
              <p:nvPr/>
            </p:nvGrpSpPr>
            <p:grpSpPr>
              <a:xfrm>
                <a:off x="4520631" y="3139888"/>
                <a:ext cx="348520" cy="470651"/>
                <a:chOff x="7011958" y="-48945"/>
                <a:chExt cx="557213" cy="752475"/>
              </a:xfrm>
              <a:solidFill>
                <a:schemeClr val="tx1">
                  <a:alpha val="12000"/>
                </a:schemeClr>
              </a:solidFill>
            </p:grpSpPr>
            <p:sp>
              <p:nvSpPr>
                <p:cNvPr id="3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18"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9"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0"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1"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2"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3"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4"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5"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6"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7"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8"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9"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30"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31"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32" name="Group 740"/>
              <p:cNvGrpSpPr/>
              <p:nvPr/>
            </p:nvGrpSpPr>
            <p:grpSpPr>
              <a:xfrm>
                <a:off x="7807311" y="2515539"/>
                <a:ext cx="348520" cy="470651"/>
                <a:chOff x="7011958" y="-48945"/>
                <a:chExt cx="557213" cy="752475"/>
              </a:xfrm>
              <a:solidFill>
                <a:schemeClr val="tx1">
                  <a:alpha val="12000"/>
                </a:schemeClr>
              </a:solidFill>
            </p:grpSpPr>
            <p:sp>
              <p:nvSpPr>
                <p:cNvPr id="3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33" name="Group 746"/>
              <p:cNvGrpSpPr/>
              <p:nvPr/>
            </p:nvGrpSpPr>
            <p:grpSpPr>
              <a:xfrm>
                <a:off x="10226892" y="2515539"/>
                <a:ext cx="348520" cy="470651"/>
                <a:chOff x="7011958" y="-48945"/>
                <a:chExt cx="557213" cy="752475"/>
              </a:xfrm>
              <a:solidFill>
                <a:schemeClr val="tx1">
                  <a:alpha val="7000"/>
                </a:schemeClr>
              </a:solidFill>
            </p:grpSpPr>
            <p:sp>
              <p:nvSpPr>
                <p:cNvPr id="3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34"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35"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36"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37"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38" name="Group 740"/>
              <p:cNvGrpSpPr/>
              <p:nvPr/>
            </p:nvGrpSpPr>
            <p:grpSpPr>
              <a:xfrm>
                <a:off x="11599705" y="2515539"/>
                <a:ext cx="348520" cy="470651"/>
                <a:chOff x="7011958" y="-48945"/>
                <a:chExt cx="557213" cy="752475"/>
              </a:xfrm>
              <a:solidFill>
                <a:schemeClr val="tx1">
                  <a:alpha val="12000"/>
                </a:schemeClr>
              </a:solidFill>
            </p:grpSpPr>
            <p:sp>
              <p:nvSpPr>
                <p:cNvPr id="3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39" name="Group 781"/>
              <p:cNvGrpSpPr/>
              <p:nvPr/>
            </p:nvGrpSpPr>
            <p:grpSpPr>
              <a:xfrm>
                <a:off x="6129230" y="1892531"/>
                <a:ext cx="612096" cy="486108"/>
                <a:chOff x="9258271" y="-45770"/>
                <a:chExt cx="925513" cy="735013"/>
              </a:xfrm>
              <a:solidFill>
                <a:schemeClr val="bg2">
                  <a:alpha val="38000"/>
                </a:schemeClr>
              </a:solidFill>
            </p:grpSpPr>
            <p:sp>
              <p:nvSpPr>
                <p:cNvPr id="368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40"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36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41"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42"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43"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44" name="Group 746"/>
              <p:cNvGrpSpPr/>
              <p:nvPr/>
            </p:nvGrpSpPr>
            <p:grpSpPr>
              <a:xfrm>
                <a:off x="8489237" y="1907988"/>
                <a:ext cx="348520" cy="470651"/>
                <a:chOff x="7011958" y="-48945"/>
                <a:chExt cx="557213" cy="752475"/>
              </a:xfrm>
              <a:solidFill>
                <a:schemeClr val="tx1">
                  <a:alpha val="7000"/>
                </a:schemeClr>
              </a:solidFill>
            </p:grpSpPr>
            <p:sp>
              <p:nvSpPr>
                <p:cNvPr id="36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45"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46"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47"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48"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36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49"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0"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1"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2"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53" name="Group 740"/>
              <p:cNvGrpSpPr/>
              <p:nvPr/>
            </p:nvGrpSpPr>
            <p:grpSpPr>
              <a:xfrm>
                <a:off x="10135115" y="1907988"/>
                <a:ext cx="348520" cy="470651"/>
                <a:chOff x="7011958" y="-48945"/>
                <a:chExt cx="557213" cy="752475"/>
              </a:xfrm>
              <a:solidFill>
                <a:schemeClr val="tx1">
                  <a:alpha val="12000"/>
                </a:schemeClr>
              </a:solidFill>
            </p:grpSpPr>
            <p:sp>
              <p:nvSpPr>
                <p:cNvPr id="36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54"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5"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6"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7"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8"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9"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0"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1"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2"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3"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4"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65" name="Group 746"/>
              <p:cNvGrpSpPr/>
              <p:nvPr/>
            </p:nvGrpSpPr>
            <p:grpSpPr>
              <a:xfrm>
                <a:off x="4519194" y="2515539"/>
                <a:ext cx="348520" cy="470651"/>
                <a:chOff x="7011958" y="-48945"/>
                <a:chExt cx="557213" cy="752475"/>
              </a:xfrm>
              <a:solidFill>
                <a:schemeClr val="tx1">
                  <a:alpha val="7000"/>
                </a:schemeClr>
              </a:solidFill>
            </p:grpSpPr>
            <p:sp>
              <p:nvSpPr>
                <p:cNvPr id="365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66"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7"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8"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69"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70"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71"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72"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73"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74"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75"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76"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77"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78" name="Group 740"/>
              <p:cNvGrpSpPr/>
              <p:nvPr/>
            </p:nvGrpSpPr>
            <p:grpSpPr>
              <a:xfrm>
                <a:off x="5060977" y="1907988"/>
                <a:ext cx="348520" cy="470651"/>
                <a:chOff x="7011958" y="-48945"/>
                <a:chExt cx="557213" cy="752475"/>
              </a:xfrm>
              <a:solidFill>
                <a:schemeClr val="tx1">
                  <a:alpha val="12000"/>
                </a:schemeClr>
              </a:solidFill>
            </p:grpSpPr>
            <p:sp>
              <p:nvSpPr>
                <p:cNvPr id="365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79"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0"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1"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2"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3"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4"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5"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6"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7"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8"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9"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0"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1"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2"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3"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4"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5"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6"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7"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8"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9"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00"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01" name="Group 740"/>
              <p:cNvGrpSpPr/>
              <p:nvPr/>
            </p:nvGrpSpPr>
            <p:grpSpPr>
              <a:xfrm>
                <a:off x="7820011" y="1334439"/>
                <a:ext cx="348520" cy="470651"/>
                <a:chOff x="7011958" y="-48945"/>
                <a:chExt cx="557213" cy="752475"/>
              </a:xfrm>
              <a:solidFill>
                <a:schemeClr val="tx1">
                  <a:alpha val="12000"/>
                </a:schemeClr>
              </a:solidFill>
            </p:grpSpPr>
            <p:sp>
              <p:nvSpPr>
                <p:cNvPr id="36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02" name="Group 746"/>
              <p:cNvGrpSpPr/>
              <p:nvPr/>
            </p:nvGrpSpPr>
            <p:grpSpPr>
              <a:xfrm>
                <a:off x="10239592" y="1334439"/>
                <a:ext cx="348520" cy="470651"/>
                <a:chOff x="7011958" y="-48945"/>
                <a:chExt cx="557213" cy="752475"/>
              </a:xfrm>
              <a:solidFill>
                <a:schemeClr val="tx1">
                  <a:alpha val="7000"/>
                </a:schemeClr>
              </a:solidFill>
            </p:grpSpPr>
            <p:sp>
              <p:nvSpPr>
                <p:cNvPr id="36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03"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04"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05"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06"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07" name="Group 740"/>
              <p:cNvGrpSpPr/>
              <p:nvPr/>
            </p:nvGrpSpPr>
            <p:grpSpPr>
              <a:xfrm>
                <a:off x="11612405" y="1334439"/>
                <a:ext cx="348520" cy="470651"/>
                <a:chOff x="7011958" y="-48945"/>
                <a:chExt cx="557213" cy="752475"/>
              </a:xfrm>
              <a:solidFill>
                <a:schemeClr val="tx1">
                  <a:alpha val="12000"/>
                </a:schemeClr>
              </a:solidFill>
            </p:grpSpPr>
            <p:sp>
              <p:nvSpPr>
                <p:cNvPr id="36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08" name="Group 781"/>
              <p:cNvGrpSpPr/>
              <p:nvPr/>
            </p:nvGrpSpPr>
            <p:grpSpPr>
              <a:xfrm>
                <a:off x="6141930" y="711431"/>
                <a:ext cx="612096" cy="486108"/>
                <a:chOff x="9258271" y="-45770"/>
                <a:chExt cx="925513" cy="735013"/>
              </a:xfrm>
              <a:solidFill>
                <a:schemeClr val="bg2">
                  <a:alpha val="38000"/>
                </a:schemeClr>
              </a:solidFill>
            </p:grpSpPr>
            <p:sp>
              <p:nvSpPr>
                <p:cNvPr id="36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09"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362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10"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11"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12"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13" name="Group 746"/>
              <p:cNvGrpSpPr/>
              <p:nvPr/>
            </p:nvGrpSpPr>
            <p:grpSpPr>
              <a:xfrm>
                <a:off x="8501937" y="726888"/>
                <a:ext cx="348520" cy="470651"/>
                <a:chOff x="7011958" y="-48945"/>
                <a:chExt cx="557213" cy="752475"/>
              </a:xfrm>
              <a:solidFill>
                <a:schemeClr val="tx1">
                  <a:alpha val="7000"/>
                </a:schemeClr>
              </a:solidFill>
            </p:grpSpPr>
            <p:sp>
              <p:nvSpPr>
                <p:cNvPr id="36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14"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15"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16"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17"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36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18"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19"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0"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1"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22" name="Group 740"/>
              <p:cNvGrpSpPr/>
              <p:nvPr/>
            </p:nvGrpSpPr>
            <p:grpSpPr>
              <a:xfrm>
                <a:off x="10147815" y="726888"/>
                <a:ext cx="348520" cy="470651"/>
                <a:chOff x="7011958" y="-48945"/>
                <a:chExt cx="557213" cy="752475"/>
              </a:xfrm>
              <a:solidFill>
                <a:schemeClr val="tx1">
                  <a:alpha val="12000"/>
                </a:schemeClr>
              </a:solidFill>
            </p:grpSpPr>
            <p:sp>
              <p:nvSpPr>
                <p:cNvPr id="36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23"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4"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5"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6"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7"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8"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9"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0" name="Freeform 16"/>
              <p:cNvSpPr>
                <a:spLocks noEditPoints="1"/>
              </p:cNvSpPr>
              <p:nvPr/>
            </p:nvSpPr>
            <p:spPr bwMode="auto">
              <a:xfrm>
                <a:off x="2851551" y="132375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1" name="Freeform 16"/>
              <p:cNvSpPr>
                <a:spLocks noEditPoints="1"/>
              </p:cNvSpPr>
              <p:nvPr/>
            </p:nvSpPr>
            <p:spPr bwMode="auto">
              <a:xfrm>
                <a:off x="3599417" y="132375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2"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3"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34" name="Group 746"/>
              <p:cNvGrpSpPr/>
              <p:nvPr/>
            </p:nvGrpSpPr>
            <p:grpSpPr>
              <a:xfrm>
                <a:off x="4531894" y="1334439"/>
                <a:ext cx="348520" cy="470651"/>
                <a:chOff x="7011958" y="-48945"/>
                <a:chExt cx="557213" cy="752475"/>
              </a:xfrm>
              <a:solidFill>
                <a:schemeClr val="tx1">
                  <a:alpha val="7000"/>
                </a:schemeClr>
              </a:solidFill>
            </p:grpSpPr>
            <p:sp>
              <p:nvSpPr>
                <p:cNvPr id="36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35"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6"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7"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38"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9"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0"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1"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2"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3"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4"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5"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6"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47" name="Group 740"/>
              <p:cNvGrpSpPr/>
              <p:nvPr/>
            </p:nvGrpSpPr>
            <p:grpSpPr>
              <a:xfrm>
                <a:off x="5073677" y="726888"/>
                <a:ext cx="348520" cy="470651"/>
                <a:chOff x="7011958" y="-48945"/>
                <a:chExt cx="557213" cy="752475"/>
              </a:xfrm>
              <a:solidFill>
                <a:schemeClr val="tx1">
                  <a:alpha val="12000"/>
                </a:schemeClr>
              </a:solidFill>
            </p:grpSpPr>
            <p:sp>
              <p:nvSpPr>
                <p:cNvPr id="36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48"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9"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0" name="Freeform 16"/>
              <p:cNvSpPr>
                <a:spLocks noEditPoints="1"/>
              </p:cNvSpPr>
              <p:nvPr/>
            </p:nvSpPr>
            <p:spPr bwMode="auto">
              <a:xfrm>
                <a:off x="3123218"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1"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2"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3"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4"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5"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6"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7"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8"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9"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0"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1"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2"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3"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4"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5"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6"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7"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68" name="Group 740"/>
              <p:cNvGrpSpPr/>
              <p:nvPr/>
            </p:nvGrpSpPr>
            <p:grpSpPr>
              <a:xfrm>
                <a:off x="2206612" y="46874"/>
                <a:ext cx="348520" cy="470651"/>
                <a:chOff x="7011958" y="-48945"/>
                <a:chExt cx="557213" cy="752475"/>
              </a:xfrm>
              <a:solidFill>
                <a:schemeClr val="tx1">
                  <a:alpha val="12000"/>
                </a:schemeClr>
              </a:solidFill>
            </p:grpSpPr>
            <p:sp>
              <p:nvSpPr>
                <p:cNvPr id="36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69" name="Group 746"/>
              <p:cNvGrpSpPr/>
              <p:nvPr/>
            </p:nvGrpSpPr>
            <p:grpSpPr>
              <a:xfrm>
                <a:off x="4623259" y="46874"/>
                <a:ext cx="348520" cy="470651"/>
                <a:chOff x="7011958" y="-48945"/>
                <a:chExt cx="557213" cy="752475"/>
              </a:xfrm>
              <a:solidFill>
                <a:schemeClr val="tx1">
                  <a:alpha val="7000"/>
                </a:schemeClr>
              </a:solidFill>
            </p:grpSpPr>
            <p:sp>
              <p:nvSpPr>
                <p:cNvPr id="36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70"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1"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2"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3"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4"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5"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6"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7"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78" name="Group 740"/>
              <p:cNvGrpSpPr/>
              <p:nvPr/>
            </p:nvGrpSpPr>
            <p:grpSpPr>
              <a:xfrm>
                <a:off x="5994116" y="46874"/>
                <a:ext cx="348520" cy="470651"/>
                <a:chOff x="7011958" y="-48945"/>
                <a:chExt cx="557213" cy="752475"/>
              </a:xfrm>
              <a:solidFill>
                <a:schemeClr val="tx1">
                  <a:alpha val="12000"/>
                </a:schemeClr>
              </a:solidFill>
            </p:grpSpPr>
            <p:sp>
              <p:nvSpPr>
                <p:cNvPr id="36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79" name="Freeform 16"/>
              <p:cNvSpPr>
                <a:spLocks noEditPoints="1"/>
              </p:cNvSpPr>
              <p:nvPr/>
            </p:nvSpPr>
            <p:spPr bwMode="auto">
              <a:xfrm>
                <a:off x="9130005"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0" name="Freeform 16"/>
              <p:cNvSpPr>
                <a:spLocks noEditPoints="1"/>
              </p:cNvSpPr>
              <p:nvPr/>
            </p:nvSpPr>
            <p:spPr bwMode="auto">
              <a:xfrm>
                <a:off x="987689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1"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2"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583" name="Group 746"/>
              <p:cNvGrpSpPr/>
              <p:nvPr/>
            </p:nvGrpSpPr>
            <p:grpSpPr>
              <a:xfrm>
                <a:off x="10808392" y="46874"/>
                <a:ext cx="348520" cy="470651"/>
                <a:chOff x="7011958" y="-48945"/>
                <a:chExt cx="557213" cy="752475"/>
              </a:xfrm>
              <a:solidFill>
                <a:schemeClr val="tx1">
                  <a:alpha val="7000"/>
                </a:schemeClr>
              </a:solidFill>
            </p:grpSpPr>
            <p:sp>
              <p:nvSpPr>
                <p:cNvPr id="36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84"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5"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6"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587"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359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88"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9"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90"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91"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557" name="Group 1364"/>
            <p:cNvGrpSpPr>
              <a:grpSpLocks noChangeAspect="1"/>
            </p:cNvGrpSpPr>
            <p:nvPr/>
          </p:nvGrpSpPr>
          <p:grpSpPr>
            <a:xfrm>
              <a:off x="6225545" y="63500"/>
              <a:ext cx="6198230" cy="3429000"/>
              <a:chOff x="88900" y="16253"/>
              <a:chExt cx="12361342" cy="6838572"/>
            </a:xfrm>
          </p:grpSpPr>
          <p:sp>
            <p:nvSpPr>
              <p:cNvPr id="255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5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7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597" name="Group 740"/>
              <p:cNvGrpSpPr/>
              <p:nvPr/>
            </p:nvGrpSpPr>
            <p:grpSpPr>
              <a:xfrm>
                <a:off x="2143125" y="6384174"/>
                <a:ext cx="348521" cy="470651"/>
                <a:chOff x="7011958" y="-48945"/>
                <a:chExt cx="557213" cy="752475"/>
              </a:xfrm>
              <a:solidFill>
                <a:schemeClr val="tx1">
                  <a:alpha val="12000"/>
                </a:schemeClr>
              </a:solidFill>
            </p:grpSpPr>
            <p:sp>
              <p:nvSpPr>
                <p:cNvPr id="31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98" name="Group 746"/>
              <p:cNvGrpSpPr/>
              <p:nvPr/>
            </p:nvGrpSpPr>
            <p:grpSpPr>
              <a:xfrm>
                <a:off x="4559772" y="6384174"/>
                <a:ext cx="348521" cy="470651"/>
                <a:chOff x="7011958" y="-48945"/>
                <a:chExt cx="557213" cy="752475"/>
              </a:xfrm>
              <a:solidFill>
                <a:schemeClr val="tx1">
                  <a:alpha val="7000"/>
                </a:schemeClr>
              </a:solidFill>
            </p:grpSpPr>
            <p:sp>
              <p:nvSpPr>
                <p:cNvPr id="31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9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07" name="Group 740"/>
              <p:cNvGrpSpPr/>
              <p:nvPr/>
            </p:nvGrpSpPr>
            <p:grpSpPr>
              <a:xfrm>
                <a:off x="5930629" y="6384174"/>
                <a:ext cx="348521" cy="470651"/>
                <a:chOff x="7011958" y="-48945"/>
                <a:chExt cx="557213" cy="752475"/>
              </a:xfrm>
              <a:solidFill>
                <a:schemeClr val="tx1">
                  <a:alpha val="12000"/>
                </a:schemeClr>
              </a:solidFill>
            </p:grpSpPr>
            <p:sp>
              <p:nvSpPr>
                <p:cNvPr id="31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0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1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1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12" name="Group 746"/>
              <p:cNvGrpSpPr/>
              <p:nvPr/>
            </p:nvGrpSpPr>
            <p:grpSpPr>
              <a:xfrm>
                <a:off x="10744905" y="6384174"/>
                <a:ext cx="348521" cy="470651"/>
                <a:chOff x="7011958" y="-48945"/>
                <a:chExt cx="557213" cy="752475"/>
              </a:xfrm>
              <a:solidFill>
                <a:schemeClr val="tx1">
                  <a:alpha val="7000"/>
                </a:schemeClr>
              </a:solidFill>
            </p:grpSpPr>
            <p:sp>
              <p:nvSpPr>
                <p:cNvPr id="31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1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1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15" name="Group 781"/>
              <p:cNvGrpSpPr/>
              <p:nvPr/>
            </p:nvGrpSpPr>
            <p:grpSpPr>
              <a:xfrm>
                <a:off x="520986" y="5766031"/>
                <a:ext cx="612096" cy="486108"/>
                <a:chOff x="9258271" y="-45770"/>
                <a:chExt cx="925513" cy="735013"/>
              </a:xfrm>
              <a:solidFill>
                <a:schemeClr val="bg2">
                  <a:alpha val="38000"/>
                </a:schemeClr>
              </a:solidFill>
            </p:grpSpPr>
            <p:sp>
              <p:nvSpPr>
                <p:cNvPr id="31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1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61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316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1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1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2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2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2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2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2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2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2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27" name="Group 740"/>
              <p:cNvGrpSpPr/>
              <p:nvPr/>
            </p:nvGrpSpPr>
            <p:grpSpPr>
              <a:xfrm>
                <a:off x="11309765" y="5781488"/>
                <a:ext cx="348521" cy="470651"/>
                <a:chOff x="7011958" y="-48945"/>
                <a:chExt cx="557213" cy="752475"/>
              </a:xfrm>
              <a:solidFill>
                <a:schemeClr val="tx1">
                  <a:alpha val="12000"/>
                </a:schemeClr>
              </a:solidFill>
            </p:grpSpPr>
            <p:sp>
              <p:nvSpPr>
                <p:cNvPr id="31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2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2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38" name="Group 746"/>
              <p:cNvGrpSpPr/>
              <p:nvPr/>
            </p:nvGrpSpPr>
            <p:grpSpPr>
              <a:xfrm>
                <a:off x="2852486" y="5781488"/>
                <a:ext cx="348521" cy="470651"/>
                <a:chOff x="7011958" y="-48945"/>
                <a:chExt cx="557213" cy="752475"/>
              </a:xfrm>
              <a:solidFill>
                <a:schemeClr val="tx1">
                  <a:alpha val="7000"/>
                </a:schemeClr>
              </a:solidFill>
            </p:grpSpPr>
            <p:sp>
              <p:nvSpPr>
                <p:cNvPr id="31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3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4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31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4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47" name="Group 740"/>
              <p:cNvGrpSpPr/>
              <p:nvPr/>
            </p:nvGrpSpPr>
            <p:grpSpPr>
              <a:xfrm>
                <a:off x="4495244" y="5781488"/>
                <a:ext cx="348521" cy="470651"/>
                <a:chOff x="7011958" y="-48945"/>
                <a:chExt cx="557213" cy="752475"/>
              </a:xfrm>
              <a:solidFill>
                <a:schemeClr val="tx1">
                  <a:alpha val="12000"/>
                </a:schemeClr>
              </a:solidFill>
            </p:grpSpPr>
            <p:sp>
              <p:nvSpPr>
                <p:cNvPr id="31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4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6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6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62" name="Group 740"/>
              <p:cNvGrpSpPr/>
              <p:nvPr/>
            </p:nvGrpSpPr>
            <p:grpSpPr>
              <a:xfrm>
                <a:off x="7781924" y="5093639"/>
                <a:ext cx="348521" cy="470651"/>
                <a:chOff x="7011958" y="-48945"/>
                <a:chExt cx="557213" cy="752475"/>
              </a:xfrm>
              <a:solidFill>
                <a:schemeClr val="tx1">
                  <a:alpha val="12000"/>
                </a:schemeClr>
              </a:solidFill>
            </p:grpSpPr>
            <p:sp>
              <p:nvSpPr>
                <p:cNvPr id="31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63" name="Group 746"/>
              <p:cNvGrpSpPr/>
              <p:nvPr/>
            </p:nvGrpSpPr>
            <p:grpSpPr>
              <a:xfrm>
                <a:off x="10201505" y="5093639"/>
                <a:ext cx="348521" cy="470651"/>
                <a:chOff x="7011958" y="-48945"/>
                <a:chExt cx="557213" cy="752475"/>
              </a:xfrm>
              <a:solidFill>
                <a:schemeClr val="tx1">
                  <a:alpha val="7000"/>
                </a:schemeClr>
              </a:solidFill>
            </p:grpSpPr>
            <p:sp>
              <p:nvSpPr>
                <p:cNvPr id="31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6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6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6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6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68" name="Group 740"/>
              <p:cNvGrpSpPr/>
              <p:nvPr/>
            </p:nvGrpSpPr>
            <p:grpSpPr>
              <a:xfrm>
                <a:off x="11574318" y="5093639"/>
                <a:ext cx="348521" cy="470651"/>
                <a:chOff x="7011958" y="-48945"/>
                <a:chExt cx="557213" cy="752475"/>
              </a:xfrm>
              <a:solidFill>
                <a:schemeClr val="tx1">
                  <a:alpha val="12000"/>
                </a:schemeClr>
              </a:solidFill>
            </p:grpSpPr>
            <p:sp>
              <p:nvSpPr>
                <p:cNvPr id="31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69" name="Group 781"/>
              <p:cNvGrpSpPr/>
              <p:nvPr/>
            </p:nvGrpSpPr>
            <p:grpSpPr>
              <a:xfrm>
                <a:off x="6103830" y="4470631"/>
                <a:ext cx="612096" cy="486108"/>
                <a:chOff x="9258271" y="-45770"/>
                <a:chExt cx="925513" cy="735013"/>
              </a:xfrm>
              <a:solidFill>
                <a:schemeClr val="bg2">
                  <a:alpha val="38000"/>
                </a:schemeClr>
              </a:solidFill>
            </p:grpSpPr>
            <p:sp>
              <p:nvSpPr>
                <p:cNvPr id="313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7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31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7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7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7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74" name="Group 746"/>
              <p:cNvGrpSpPr/>
              <p:nvPr/>
            </p:nvGrpSpPr>
            <p:grpSpPr>
              <a:xfrm>
                <a:off x="8463850" y="4486088"/>
                <a:ext cx="348521" cy="470651"/>
                <a:chOff x="7011958" y="-48945"/>
                <a:chExt cx="557213" cy="752475"/>
              </a:xfrm>
              <a:solidFill>
                <a:schemeClr val="tx1">
                  <a:alpha val="7000"/>
                </a:schemeClr>
              </a:solidFill>
            </p:grpSpPr>
            <p:sp>
              <p:nvSpPr>
                <p:cNvPr id="31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7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7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7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7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31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7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83" name="Group 740"/>
              <p:cNvGrpSpPr/>
              <p:nvPr/>
            </p:nvGrpSpPr>
            <p:grpSpPr>
              <a:xfrm>
                <a:off x="10109728" y="4486088"/>
                <a:ext cx="348521" cy="470651"/>
                <a:chOff x="7011958" y="-48945"/>
                <a:chExt cx="557213" cy="752475"/>
              </a:xfrm>
              <a:solidFill>
                <a:schemeClr val="tx1">
                  <a:alpha val="12000"/>
                </a:schemeClr>
              </a:solidFill>
            </p:grpSpPr>
            <p:sp>
              <p:nvSpPr>
                <p:cNvPr id="31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8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1" name="Freeform 16"/>
              <p:cNvSpPr>
                <a:spLocks noEditPoints="1"/>
              </p:cNvSpPr>
              <p:nvPr/>
            </p:nvSpPr>
            <p:spPr bwMode="auto">
              <a:xfrm>
                <a:off x="2813450"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2" name="Freeform 16"/>
              <p:cNvSpPr>
                <a:spLocks noEditPoints="1"/>
              </p:cNvSpPr>
              <p:nvPr/>
            </p:nvSpPr>
            <p:spPr bwMode="auto">
              <a:xfrm>
                <a:off x="3561317"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95" name="Group 746"/>
              <p:cNvGrpSpPr/>
              <p:nvPr/>
            </p:nvGrpSpPr>
            <p:grpSpPr>
              <a:xfrm>
                <a:off x="4493807" y="5093639"/>
                <a:ext cx="348521" cy="470651"/>
                <a:chOff x="7011958" y="-48945"/>
                <a:chExt cx="557213" cy="752475"/>
              </a:xfrm>
              <a:solidFill>
                <a:schemeClr val="tx1">
                  <a:alpha val="7000"/>
                </a:schemeClr>
              </a:solidFill>
            </p:grpSpPr>
            <p:sp>
              <p:nvSpPr>
                <p:cNvPr id="31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9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9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08" name="Group 740"/>
              <p:cNvGrpSpPr/>
              <p:nvPr/>
            </p:nvGrpSpPr>
            <p:grpSpPr>
              <a:xfrm>
                <a:off x="5035590" y="4486088"/>
                <a:ext cx="348521" cy="470651"/>
                <a:chOff x="7011958" y="-48945"/>
                <a:chExt cx="557213" cy="752475"/>
              </a:xfrm>
              <a:solidFill>
                <a:schemeClr val="tx1">
                  <a:alpha val="12000"/>
                </a:schemeClr>
              </a:solidFill>
            </p:grpSpPr>
            <p:sp>
              <p:nvSpPr>
                <p:cNvPr id="31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0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1" name="Freeform 16"/>
              <p:cNvSpPr>
                <a:spLocks noEditPoints="1"/>
              </p:cNvSpPr>
              <p:nvPr/>
            </p:nvSpPr>
            <p:spPr bwMode="auto">
              <a:xfrm>
                <a:off x="3085118" y="447540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31" name="Group 740"/>
              <p:cNvGrpSpPr/>
              <p:nvPr/>
            </p:nvGrpSpPr>
            <p:grpSpPr>
              <a:xfrm>
                <a:off x="2168525" y="3806074"/>
                <a:ext cx="348521" cy="470651"/>
                <a:chOff x="7011958" y="-48945"/>
                <a:chExt cx="557213" cy="752475"/>
              </a:xfrm>
              <a:solidFill>
                <a:schemeClr val="tx1">
                  <a:alpha val="12000"/>
                </a:schemeClr>
              </a:solidFill>
            </p:grpSpPr>
            <p:sp>
              <p:nvSpPr>
                <p:cNvPr id="31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32" name="Group 746"/>
              <p:cNvGrpSpPr/>
              <p:nvPr/>
            </p:nvGrpSpPr>
            <p:grpSpPr>
              <a:xfrm>
                <a:off x="4585172" y="3806074"/>
                <a:ext cx="348521" cy="470651"/>
                <a:chOff x="7011958" y="-48945"/>
                <a:chExt cx="557213" cy="752475"/>
              </a:xfrm>
              <a:solidFill>
                <a:schemeClr val="tx1">
                  <a:alpha val="7000"/>
                </a:schemeClr>
              </a:solidFill>
            </p:grpSpPr>
            <p:sp>
              <p:nvSpPr>
                <p:cNvPr id="31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3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4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41" name="Group 740"/>
              <p:cNvGrpSpPr/>
              <p:nvPr/>
            </p:nvGrpSpPr>
            <p:grpSpPr>
              <a:xfrm>
                <a:off x="5956029" y="3806074"/>
                <a:ext cx="348521" cy="470651"/>
                <a:chOff x="7011958" y="-48945"/>
                <a:chExt cx="557213" cy="752475"/>
              </a:xfrm>
              <a:solidFill>
                <a:schemeClr val="tx1">
                  <a:alpha val="12000"/>
                </a:schemeClr>
              </a:solidFill>
            </p:grpSpPr>
            <p:sp>
              <p:nvSpPr>
                <p:cNvPr id="31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4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43" name="Freeform 16"/>
              <p:cNvSpPr>
                <a:spLocks noEditPoints="1"/>
              </p:cNvSpPr>
              <p:nvPr/>
            </p:nvSpPr>
            <p:spPr bwMode="auto">
              <a:xfrm>
                <a:off x="9838793" y="3795393"/>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4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4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46" name="Group 746"/>
              <p:cNvGrpSpPr/>
              <p:nvPr/>
            </p:nvGrpSpPr>
            <p:grpSpPr>
              <a:xfrm>
                <a:off x="10770305" y="3806074"/>
                <a:ext cx="348521" cy="470651"/>
                <a:chOff x="7011958" y="-48945"/>
                <a:chExt cx="557213" cy="752475"/>
              </a:xfrm>
              <a:solidFill>
                <a:schemeClr val="tx1">
                  <a:alpha val="7000"/>
                </a:schemeClr>
              </a:solidFill>
            </p:grpSpPr>
            <p:sp>
              <p:nvSpPr>
                <p:cNvPr id="30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4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4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49" name="Group 781"/>
              <p:cNvGrpSpPr/>
              <p:nvPr/>
            </p:nvGrpSpPr>
            <p:grpSpPr>
              <a:xfrm>
                <a:off x="520986" y="3124431"/>
                <a:ext cx="612096" cy="486108"/>
                <a:chOff x="9258271" y="-45770"/>
                <a:chExt cx="925513" cy="735013"/>
              </a:xfrm>
              <a:solidFill>
                <a:schemeClr val="bg2">
                  <a:alpha val="38000"/>
                </a:schemeClr>
              </a:solidFill>
            </p:grpSpPr>
            <p:sp>
              <p:nvSpPr>
                <p:cNvPr id="30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5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75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307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5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61" name="Group 740"/>
              <p:cNvGrpSpPr/>
              <p:nvPr/>
            </p:nvGrpSpPr>
            <p:grpSpPr>
              <a:xfrm>
                <a:off x="11335165" y="3139888"/>
                <a:ext cx="348521" cy="470651"/>
                <a:chOff x="7011958" y="-48945"/>
                <a:chExt cx="557213" cy="752475"/>
              </a:xfrm>
              <a:solidFill>
                <a:schemeClr val="tx1">
                  <a:alpha val="12000"/>
                </a:schemeClr>
              </a:solidFill>
            </p:grpSpPr>
            <p:sp>
              <p:nvSpPr>
                <p:cNvPr id="30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6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72" name="Group 746"/>
              <p:cNvGrpSpPr/>
              <p:nvPr/>
            </p:nvGrpSpPr>
            <p:grpSpPr>
              <a:xfrm>
                <a:off x="2877886" y="3139888"/>
                <a:ext cx="348521" cy="470651"/>
                <a:chOff x="7011958" y="-48945"/>
                <a:chExt cx="557213" cy="752475"/>
              </a:xfrm>
              <a:solidFill>
                <a:schemeClr val="tx1">
                  <a:alpha val="7000"/>
                </a:schemeClr>
              </a:solidFill>
            </p:grpSpPr>
            <p:sp>
              <p:nvSpPr>
                <p:cNvPr id="30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7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7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306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7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8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81" name="Group 740"/>
              <p:cNvGrpSpPr/>
              <p:nvPr/>
            </p:nvGrpSpPr>
            <p:grpSpPr>
              <a:xfrm>
                <a:off x="4520644" y="3139888"/>
                <a:ext cx="348521" cy="470651"/>
                <a:chOff x="7011958" y="-48945"/>
                <a:chExt cx="557213" cy="752475"/>
              </a:xfrm>
              <a:solidFill>
                <a:schemeClr val="tx1">
                  <a:alpha val="12000"/>
                </a:schemeClr>
              </a:solidFill>
            </p:grpSpPr>
            <p:sp>
              <p:nvSpPr>
                <p:cNvPr id="30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8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8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8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8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8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8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8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8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9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9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9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9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9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9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96" name="Group 740"/>
              <p:cNvGrpSpPr/>
              <p:nvPr/>
            </p:nvGrpSpPr>
            <p:grpSpPr>
              <a:xfrm>
                <a:off x="7807324" y="2515539"/>
                <a:ext cx="348521" cy="470651"/>
                <a:chOff x="7011958" y="-48945"/>
                <a:chExt cx="557213" cy="752475"/>
              </a:xfrm>
              <a:solidFill>
                <a:schemeClr val="tx1">
                  <a:alpha val="12000"/>
                </a:schemeClr>
              </a:solidFill>
            </p:grpSpPr>
            <p:sp>
              <p:nvSpPr>
                <p:cNvPr id="30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97" name="Group 746"/>
              <p:cNvGrpSpPr/>
              <p:nvPr/>
            </p:nvGrpSpPr>
            <p:grpSpPr>
              <a:xfrm>
                <a:off x="10226905" y="2515539"/>
                <a:ext cx="348521" cy="470651"/>
                <a:chOff x="7011958" y="-48945"/>
                <a:chExt cx="557213" cy="752475"/>
              </a:xfrm>
              <a:solidFill>
                <a:schemeClr val="tx1">
                  <a:alpha val="7000"/>
                </a:schemeClr>
              </a:solidFill>
            </p:grpSpPr>
            <p:sp>
              <p:nvSpPr>
                <p:cNvPr id="30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9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9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0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0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02" name="Group 740"/>
              <p:cNvGrpSpPr/>
              <p:nvPr/>
            </p:nvGrpSpPr>
            <p:grpSpPr>
              <a:xfrm>
                <a:off x="11599718" y="2515539"/>
                <a:ext cx="348521" cy="470651"/>
                <a:chOff x="7011958" y="-48945"/>
                <a:chExt cx="557213" cy="752475"/>
              </a:xfrm>
              <a:solidFill>
                <a:schemeClr val="tx1">
                  <a:alpha val="12000"/>
                </a:schemeClr>
              </a:solidFill>
            </p:grpSpPr>
            <p:sp>
              <p:nvSpPr>
                <p:cNvPr id="305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03" name="Group 781"/>
              <p:cNvGrpSpPr/>
              <p:nvPr/>
            </p:nvGrpSpPr>
            <p:grpSpPr>
              <a:xfrm>
                <a:off x="6129230" y="1892531"/>
                <a:ext cx="612096" cy="486108"/>
                <a:chOff x="9258271" y="-45770"/>
                <a:chExt cx="925513" cy="735013"/>
              </a:xfrm>
              <a:solidFill>
                <a:schemeClr val="bg2">
                  <a:alpha val="38000"/>
                </a:schemeClr>
              </a:solidFill>
            </p:grpSpPr>
            <p:sp>
              <p:nvSpPr>
                <p:cNvPr id="304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0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30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0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0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0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08" name="Group 746"/>
              <p:cNvGrpSpPr/>
              <p:nvPr/>
            </p:nvGrpSpPr>
            <p:grpSpPr>
              <a:xfrm>
                <a:off x="8489250" y="1907988"/>
                <a:ext cx="348521" cy="470651"/>
                <a:chOff x="7011958" y="-48945"/>
                <a:chExt cx="557213" cy="752475"/>
              </a:xfrm>
              <a:solidFill>
                <a:schemeClr val="tx1">
                  <a:alpha val="7000"/>
                </a:schemeClr>
              </a:solidFill>
            </p:grpSpPr>
            <p:sp>
              <p:nvSpPr>
                <p:cNvPr id="30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0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1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1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1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30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1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1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1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1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17" name="Group 740"/>
              <p:cNvGrpSpPr/>
              <p:nvPr/>
            </p:nvGrpSpPr>
            <p:grpSpPr>
              <a:xfrm>
                <a:off x="10135128" y="1907988"/>
                <a:ext cx="348521" cy="470651"/>
                <a:chOff x="7011958" y="-48945"/>
                <a:chExt cx="557213" cy="752475"/>
              </a:xfrm>
              <a:solidFill>
                <a:schemeClr val="tx1">
                  <a:alpha val="12000"/>
                </a:schemeClr>
              </a:solidFill>
            </p:grpSpPr>
            <p:sp>
              <p:nvSpPr>
                <p:cNvPr id="30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1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1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5" name="Freeform 16"/>
              <p:cNvSpPr>
                <a:spLocks noEditPoints="1"/>
              </p:cNvSpPr>
              <p:nvPr/>
            </p:nvSpPr>
            <p:spPr bwMode="auto">
              <a:xfrm>
                <a:off x="2838852"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6" name="Freeform 16"/>
              <p:cNvSpPr>
                <a:spLocks noEditPoints="1"/>
              </p:cNvSpPr>
              <p:nvPr/>
            </p:nvSpPr>
            <p:spPr bwMode="auto">
              <a:xfrm>
                <a:off x="3586717"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29" name="Group 746"/>
              <p:cNvGrpSpPr/>
              <p:nvPr/>
            </p:nvGrpSpPr>
            <p:grpSpPr>
              <a:xfrm>
                <a:off x="4519207" y="2515539"/>
                <a:ext cx="348521" cy="470651"/>
                <a:chOff x="7011958" y="-48945"/>
                <a:chExt cx="557213" cy="752475"/>
              </a:xfrm>
              <a:solidFill>
                <a:schemeClr val="tx1">
                  <a:alpha val="7000"/>
                </a:schemeClr>
              </a:solidFill>
            </p:grpSpPr>
            <p:sp>
              <p:nvSpPr>
                <p:cNvPr id="30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3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3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42" name="Group 740"/>
              <p:cNvGrpSpPr/>
              <p:nvPr/>
            </p:nvGrpSpPr>
            <p:grpSpPr>
              <a:xfrm>
                <a:off x="5060990" y="1907988"/>
                <a:ext cx="348521" cy="470651"/>
                <a:chOff x="7011958" y="-48945"/>
                <a:chExt cx="557213" cy="752475"/>
              </a:xfrm>
              <a:solidFill>
                <a:schemeClr val="tx1">
                  <a:alpha val="12000"/>
                </a:schemeClr>
              </a:solidFill>
            </p:grpSpPr>
            <p:sp>
              <p:nvSpPr>
                <p:cNvPr id="30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4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5" name="Freeform 16"/>
              <p:cNvSpPr>
                <a:spLocks noEditPoints="1"/>
              </p:cNvSpPr>
              <p:nvPr/>
            </p:nvSpPr>
            <p:spPr bwMode="auto">
              <a:xfrm>
                <a:off x="3110518" y="1897305"/>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65" name="Group 740"/>
              <p:cNvGrpSpPr/>
              <p:nvPr/>
            </p:nvGrpSpPr>
            <p:grpSpPr>
              <a:xfrm>
                <a:off x="7820024" y="1334439"/>
                <a:ext cx="348521" cy="470651"/>
                <a:chOff x="7011958" y="-48945"/>
                <a:chExt cx="557213" cy="752475"/>
              </a:xfrm>
              <a:solidFill>
                <a:schemeClr val="tx1">
                  <a:alpha val="12000"/>
                </a:schemeClr>
              </a:solidFill>
            </p:grpSpPr>
            <p:sp>
              <p:nvSpPr>
                <p:cNvPr id="30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66" name="Group 746"/>
              <p:cNvGrpSpPr/>
              <p:nvPr/>
            </p:nvGrpSpPr>
            <p:grpSpPr>
              <a:xfrm>
                <a:off x="10239605" y="1334439"/>
                <a:ext cx="348521" cy="470651"/>
                <a:chOff x="7011958" y="-48945"/>
                <a:chExt cx="557213" cy="752475"/>
              </a:xfrm>
              <a:solidFill>
                <a:schemeClr val="tx1">
                  <a:alpha val="7000"/>
                </a:schemeClr>
              </a:solidFill>
            </p:grpSpPr>
            <p:sp>
              <p:nvSpPr>
                <p:cNvPr id="30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6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7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71" name="Group 740"/>
              <p:cNvGrpSpPr/>
              <p:nvPr/>
            </p:nvGrpSpPr>
            <p:grpSpPr>
              <a:xfrm>
                <a:off x="11612418" y="1334439"/>
                <a:ext cx="348521" cy="470651"/>
                <a:chOff x="7011958" y="-48945"/>
                <a:chExt cx="557213" cy="752475"/>
              </a:xfrm>
              <a:solidFill>
                <a:schemeClr val="tx1">
                  <a:alpha val="12000"/>
                </a:schemeClr>
              </a:solidFill>
            </p:grpSpPr>
            <p:sp>
              <p:nvSpPr>
                <p:cNvPr id="30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72" name="Group 781"/>
              <p:cNvGrpSpPr/>
              <p:nvPr/>
            </p:nvGrpSpPr>
            <p:grpSpPr>
              <a:xfrm>
                <a:off x="6141930" y="711431"/>
                <a:ext cx="612096" cy="486108"/>
                <a:chOff x="9258271" y="-45770"/>
                <a:chExt cx="925513" cy="735013"/>
              </a:xfrm>
              <a:solidFill>
                <a:schemeClr val="bg2">
                  <a:alpha val="38000"/>
                </a:schemeClr>
              </a:solidFill>
            </p:grpSpPr>
            <p:sp>
              <p:nvSpPr>
                <p:cNvPr id="30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7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99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7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7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7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77" name="Group 746"/>
              <p:cNvGrpSpPr/>
              <p:nvPr/>
            </p:nvGrpSpPr>
            <p:grpSpPr>
              <a:xfrm>
                <a:off x="8501950" y="726888"/>
                <a:ext cx="348521" cy="470651"/>
                <a:chOff x="7011958" y="-48945"/>
                <a:chExt cx="557213" cy="752475"/>
              </a:xfrm>
              <a:solidFill>
                <a:schemeClr val="tx1">
                  <a:alpha val="7000"/>
                </a:schemeClr>
              </a:solidFill>
            </p:grpSpPr>
            <p:sp>
              <p:nvSpPr>
                <p:cNvPr id="29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7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7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8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9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8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86" name="Group 740"/>
              <p:cNvGrpSpPr/>
              <p:nvPr/>
            </p:nvGrpSpPr>
            <p:grpSpPr>
              <a:xfrm>
                <a:off x="10147828" y="726888"/>
                <a:ext cx="348521" cy="470651"/>
                <a:chOff x="7011958" y="-48945"/>
                <a:chExt cx="557213" cy="752475"/>
              </a:xfrm>
              <a:solidFill>
                <a:schemeClr val="tx1">
                  <a:alpha val="12000"/>
                </a:schemeClr>
              </a:solidFill>
            </p:grpSpPr>
            <p:sp>
              <p:nvSpPr>
                <p:cNvPr id="29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8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4" name="Freeform 16"/>
              <p:cNvSpPr>
                <a:spLocks noEditPoints="1"/>
              </p:cNvSpPr>
              <p:nvPr/>
            </p:nvSpPr>
            <p:spPr bwMode="auto">
              <a:xfrm>
                <a:off x="2851551" y="132375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5" name="Freeform 16"/>
              <p:cNvSpPr>
                <a:spLocks noEditPoints="1"/>
              </p:cNvSpPr>
              <p:nvPr/>
            </p:nvSpPr>
            <p:spPr bwMode="auto">
              <a:xfrm>
                <a:off x="3599417" y="132375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98" name="Group 746"/>
              <p:cNvGrpSpPr/>
              <p:nvPr/>
            </p:nvGrpSpPr>
            <p:grpSpPr>
              <a:xfrm>
                <a:off x="4531907" y="1334439"/>
                <a:ext cx="348521" cy="470651"/>
                <a:chOff x="7011958" y="-48945"/>
                <a:chExt cx="557213" cy="752475"/>
              </a:xfrm>
              <a:solidFill>
                <a:schemeClr val="tx1">
                  <a:alpha val="7000"/>
                </a:schemeClr>
              </a:solidFill>
            </p:grpSpPr>
            <p:sp>
              <p:nvSpPr>
                <p:cNvPr id="29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9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0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1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911" name="Group 740"/>
              <p:cNvGrpSpPr/>
              <p:nvPr/>
            </p:nvGrpSpPr>
            <p:grpSpPr>
              <a:xfrm>
                <a:off x="5073690" y="726888"/>
                <a:ext cx="348521" cy="470651"/>
                <a:chOff x="7011958" y="-48945"/>
                <a:chExt cx="557213" cy="752475"/>
              </a:xfrm>
              <a:solidFill>
                <a:schemeClr val="tx1">
                  <a:alpha val="12000"/>
                </a:schemeClr>
              </a:solidFill>
            </p:grpSpPr>
            <p:sp>
              <p:nvSpPr>
                <p:cNvPr id="29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1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1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14" name="Freeform 16"/>
              <p:cNvSpPr>
                <a:spLocks noEditPoints="1"/>
              </p:cNvSpPr>
              <p:nvPr/>
            </p:nvSpPr>
            <p:spPr bwMode="auto">
              <a:xfrm>
                <a:off x="3123218"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1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1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1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1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1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2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932" name="Group 740"/>
              <p:cNvGrpSpPr/>
              <p:nvPr/>
            </p:nvGrpSpPr>
            <p:grpSpPr>
              <a:xfrm>
                <a:off x="2206625" y="46874"/>
                <a:ext cx="348521" cy="470651"/>
                <a:chOff x="7011958" y="-48945"/>
                <a:chExt cx="557213" cy="752475"/>
              </a:xfrm>
              <a:solidFill>
                <a:schemeClr val="tx1">
                  <a:alpha val="12000"/>
                </a:schemeClr>
              </a:solidFill>
            </p:grpSpPr>
            <p:sp>
              <p:nvSpPr>
                <p:cNvPr id="29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33" name="Group 746"/>
              <p:cNvGrpSpPr/>
              <p:nvPr/>
            </p:nvGrpSpPr>
            <p:grpSpPr>
              <a:xfrm>
                <a:off x="4623272" y="46874"/>
                <a:ext cx="348521" cy="470651"/>
                <a:chOff x="7011958" y="-48945"/>
                <a:chExt cx="557213" cy="752475"/>
              </a:xfrm>
              <a:solidFill>
                <a:schemeClr val="tx1">
                  <a:alpha val="7000"/>
                </a:schemeClr>
              </a:solidFill>
            </p:grpSpPr>
            <p:sp>
              <p:nvSpPr>
                <p:cNvPr id="29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3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4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4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942" name="Group 740"/>
              <p:cNvGrpSpPr/>
              <p:nvPr/>
            </p:nvGrpSpPr>
            <p:grpSpPr>
              <a:xfrm>
                <a:off x="5994129" y="46874"/>
                <a:ext cx="348521" cy="470651"/>
                <a:chOff x="7011958" y="-48945"/>
                <a:chExt cx="557213" cy="752475"/>
              </a:xfrm>
              <a:solidFill>
                <a:schemeClr val="tx1">
                  <a:alpha val="12000"/>
                </a:schemeClr>
              </a:solidFill>
            </p:grpSpPr>
            <p:sp>
              <p:nvSpPr>
                <p:cNvPr id="29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43" name="Freeform 16"/>
              <p:cNvSpPr>
                <a:spLocks noEditPoints="1"/>
              </p:cNvSpPr>
              <p:nvPr/>
            </p:nvSpPr>
            <p:spPr bwMode="auto">
              <a:xfrm>
                <a:off x="9130005"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44" name="Freeform 16"/>
              <p:cNvSpPr>
                <a:spLocks noEditPoints="1"/>
              </p:cNvSpPr>
              <p:nvPr/>
            </p:nvSpPr>
            <p:spPr bwMode="auto">
              <a:xfrm>
                <a:off x="987689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4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4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947" name="Group 746"/>
              <p:cNvGrpSpPr/>
              <p:nvPr/>
            </p:nvGrpSpPr>
            <p:grpSpPr>
              <a:xfrm>
                <a:off x="10808405" y="46874"/>
                <a:ext cx="348521" cy="470651"/>
                <a:chOff x="7011958" y="-48945"/>
                <a:chExt cx="557213" cy="752475"/>
              </a:xfrm>
              <a:solidFill>
                <a:schemeClr val="tx1">
                  <a:alpha val="7000"/>
                </a:schemeClr>
              </a:solidFill>
            </p:grpSpPr>
            <p:sp>
              <p:nvSpPr>
                <p:cNvPr id="29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4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4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5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95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95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5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5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5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5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4311735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48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552503751"/>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10005867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9558045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40871410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30663732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5902803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29033671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240899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3749357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29819893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idx="1"/>
          </p:nvPr>
        </p:nvSpPr>
        <p:spPr bwMode="auto">
          <a:xfrm>
            <a:off x="274638" y="1212850"/>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497351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25631980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277EF7-2C4E-4095-9D0F-E1EAC7C61F4B}" type="datetimeFigureOut">
              <a:rPr lang="en-US" smtClean="0"/>
              <a:t>3/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BF1239-D152-4618-A80F-D9ADC13707B3}" type="slidenum">
              <a:rPr lang="en-US" smtClean="0"/>
              <a:t>‹Nº›</a:t>
            </a:fld>
            <a:endParaRPr lang="en-US" dirty="0"/>
          </a:p>
        </p:txBody>
      </p:sp>
    </p:spTree>
    <p:extLst>
      <p:ext uri="{BB962C8B-B14F-4D97-AF65-F5344CB8AC3E}">
        <p14:creationId xmlns:p14="http://schemas.microsoft.com/office/powerpoint/2010/main" val="4226440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rgbClr val="C0000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94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9" y="2142637"/>
            <a:ext cx="11228387" cy="1720381"/>
          </a:xfrm>
        </p:spPr>
        <p:txBody>
          <a:bodyPr/>
          <a:lstStyle>
            <a:lvl1pPr>
              <a:defRPr sz="5999">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3325" y="479775"/>
            <a:ext cx="1304123" cy="285764"/>
          </a:xfrm>
          <a:prstGeom prst="rect">
            <a:avLst/>
          </a:prstGeom>
        </p:spPr>
      </p:pic>
    </p:spTree>
    <p:extLst>
      <p:ext uri="{BB962C8B-B14F-4D97-AF65-F5344CB8AC3E}">
        <p14:creationId xmlns:p14="http://schemas.microsoft.com/office/powerpoint/2010/main" val="127912552"/>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1_Red Tile Title">
    <p:bg>
      <p:bgPr>
        <a:solidFill>
          <a:srgbClr val="C0000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18" y="-318"/>
            <a:ext cx="12435840" cy="6995160"/>
          </a:xfrm>
          <a:prstGeom prst="rect">
            <a:avLst/>
          </a:prstGeom>
        </p:spPr>
      </p:pic>
      <p:sp>
        <p:nvSpPr>
          <p:cNvPr id="7" name="Rectangle 6"/>
          <p:cNvSpPr/>
          <p:nvPr userDrawn="1"/>
        </p:nvSpPr>
        <p:spPr bwMode="auto">
          <a:xfrm>
            <a:off x="274638" y="296864"/>
            <a:ext cx="5486400" cy="5486400"/>
          </a:xfrm>
          <a:prstGeom prst="rect">
            <a:avLst/>
          </a:prstGeom>
          <a:solidFill>
            <a:srgbClr val="BA141A">
              <a:alpha val="9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25" y="479775"/>
            <a:ext cx="1304123" cy="285764"/>
          </a:xfrm>
          <a:prstGeom prst="rect">
            <a:avLst/>
          </a:prstGeom>
        </p:spPr>
      </p:pic>
    </p:spTree>
    <p:extLst>
      <p:ext uri="{BB962C8B-B14F-4D97-AF65-F5344CB8AC3E}">
        <p14:creationId xmlns:p14="http://schemas.microsoft.com/office/powerpoint/2010/main" val="2726111911"/>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2_Red Tile Title">
    <p:bg>
      <p:bgPr>
        <a:solidFill>
          <a:srgbClr val="C0000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rgbClr val="BA141A">
              <a:alpha val="9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97019874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18" y="-318"/>
            <a:ext cx="12435840" cy="6995160"/>
          </a:xfrm>
          <a:prstGeom prst="rect">
            <a:avLst/>
          </a:prstGeom>
        </p:spPr>
      </p:pic>
      <p:sp>
        <p:nvSpPr>
          <p:cNvPr id="7" name="Rectangle 6"/>
          <p:cNvSpPr/>
          <p:nvPr userDrawn="1"/>
        </p:nvSpPr>
        <p:spPr bwMode="auto">
          <a:xfrm>
            <a:off x="274638" y="296864"/>
            <a:ext cx="5486400" cy="5486400"/>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833004665"/>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318" y="-318"/>
            <a:ext cx="12435840" cy="6995160"/>
          </a:xfrm>
          <a:prstGeom prst="rect">
            <a:avLst/>
          </a:prstGeom>
        </p:spPr>
      </p:pic>
      <p:sp>
        <p:nvSpPr>
          <p:cNvPr id="7" name="Rectangle 6"/>
          <p:cNvSpPr/>
          <p:nvPr userDrawn="1"/>
        </p:nvSpPr>
        <p:spPr bwMode="auto">
          <a:xfrm>
            <a:off x="274638" y="296864"/>
            <a:ext cx="5486400" cy="5486400"/>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7"/>
            <a:ext cx="5303526" cy="1720381"/>
          </a:xfrm>
          <a:prstGeom prst="rect">
            <a:avLst/>
          </a:prstGeom>
        </p:spPr>
        <p:txBody>
          <a:bodyPr lIns="146304" tIns="91440" rIns="146304" bIns="91440"/>
          <a:lstStyle>
            <a:lvl1pPr algn="l">
              <a:defRPr sz="599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3"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649228687"/>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tags" Target="../tags/tag1.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vmlDrawing" Target="../drawings/vmlDrawing1.v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image" Target="../media/image2.emf"/><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theme" Target="../theme/theme2.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r>
              <a:rPr dirty="0"/>
              <a:t>Microsoft Confidentia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Nº›</a:t>
            </a:fld>
            <a:endParaRPr dirty="0"/>
          </a:p>
        </p:txBody>
      </p:sp>
      <p:pic>
        <p:nvPicPr>
          <p:cNvPr id="6" name="Picture 5"/>
          <p:cNvPicPr>
            <a:picLocks noChangeAspect="1"/>
          </p:cNvPicPr>
          <p:nvPr userDrawn="1"/>
        </p:nvPicPr>
        <p:blipFill>
          <a:blip r:embed="rId6"/>
          <a:stretch>
            <a:fillRect/>
          </a:stretch>
        </p:blipFill>
        <p:spPr>
          <a:xfrm rot="5400000">
            <a:off x="9575268" y="2991033"/>
            <a:ext cx="6858623" cy="876557"/>
          </a:xfrm>
          <a:prstGeom prst="rect">
            <a:avLst/>
          </a:prstGeom>
        </p:spPr>
      </p:pic>
    </p:spTree>
  </p:cSld>
  <p:clrMap bg1="lt1" tx1="dk1" bg2="lt2" tx2="dk2" accent1="accent1" accent2="accent2" accent3="accent3" accent4="accent4" accent5="accent5" accent6="accent6" hlink="hlink" folHlink="folHlink"/>
  <p:sldLayoutIdLst>
    <p:sldLayoutId id="2147484044" r:id="rId1"/>
    <p:sldLayoutId id="2147484156" r:id="rId2"/>
    <p:sldLayoutId id="2147484533" r:id="rId3"/>
    <p:sldLayoutId id="2147484455" r:id="rId4"/>
  </p:sldLayoutIdLst>
  <p:transition>
    <p:fade/>
  </p:transition>
  <p:txStyles>
    <p:title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9"/>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8418"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7" y="295275"/>
            <a:ext cx="11271191" cy="917575"/>
          </a:xfrm>
          <a:prstGeom prst="rect">
            <a:avLst/>
          </a:prstGeom>
        </p:spPr>
        <p:txBody>
          <a:bodyPr vert="horz" wrap="square" lIns="0"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603504" y="1212851"/>
            <a:ext cx="11268948" cy="2092881"/>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74639"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pPr fontAlgn="auto">
              <a:spcBef>
                <a:spcPts val="0"/>
              </a:spcBef>
              <a:spcAft>
                <a:spcPts val="0"/>
              </a:spcAft>
            </a:pPr>
            <a:r>
              <a:rPr lang="en-US" dirty="0">
                <a:solidFill>
                  <a:srgbClr val="505050"/>
                </a:solidFill>
              </a:rPr>
              <a:t>Microsoft Confidential</a:t>
            </a: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563" fontAlgn="auto">
              <a:spcBef>
                <a:spcPts val="0"/>
              </a:spcBef>
              <a:spcAft>
                <a:spcPts val="0"/>
              </a:spcAft>
            </a:pPr>
            <a:fld id="{27258FFF-F925-446B-8502-81C933981705}" type="slidenum">
              <a:rPr lang="en-US" smtClean="0">
                <a:solidFill>
                  <a:srgbClr val="505050"/>
                </a:solidFill>
              </a:rPr>
              <a:pPr defTabSz="932563" fontAlgn="auto">
                <a:spcBef>
                  <a:spcPts val="0"/>
                </a:spcBef>
                <a:spcAft>
                  <a:spcPts val="0"/>
                </a:spcAft>
              </a:pPr>
              <a:t>‹Nº›</a:t>
            </a:fld>
            <a:endParaRPr lang="en-US" dirty="0">
              <a:solidFill>
                <a:srgbClr val="505050"/>
              </a:solidFill>
            </a:endParaRPr>
          </a:p>
        </p:txBody>
      </p:sp>
    </p:spTree>
    <p:extLst>
      <p:ext uri="{BB962C8B-B14F-4D97-AF65-F5344CB8AC3E}">
        <p14:creationId xmlns:p14="http://schemas.microsoft.com/office/powerpoint/2010/main" val="4172684700"/>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 id="2147484497" r:id="rId12"/>
    <p:sldLayoutId id="2147484498" r:id="rId13"/>
    <p:sldLayoutId id="2147484499" r:id="rId14"/>
    <p:sldLayoutId id="2147484500" r:id="rId15"/>
    <p:sldLayoutId id="2147484501" r:id="rId16"/>
    <p:sldLayoutId id="2147484502" r:id="rId17"/>
    <p:sldLayoutId id="2147484503" r:id="rId18"/>
    <p:sldLayoutId id="2147484504" r:id="rId19"/>
    <p:sldLayoutId id="2147484505" r:id="rId20"/>
    <p:sldLayoutId id="2147484506" r:id="rId21"/>
    <p:sldLayoutId id="2147484507" r:id="rId22"/>
    <p:sldLayoutId id="2147484508" r:id="rId23"/>
    <p:sldLayoutId id="2147484509" r:id="rId24"/>
    <p:sldLayoutId id="2147484510" r:id="rId25"/>
    <p:sldLayoutId id="2147484511" r:id="rId26"/>
  </p:sldLayoutIdLst>
  <p:transition spd="slow">
    <p:fade/>
  </p:transition>
  <p:hf hdr="0" ftr="0" dt="0"/>
  <p:txStyles>
    <p:titleStyle>
      <a:lvl1pPr algn="l" defTabSz="932563" rtl="0" eaLnBrk="1" latinLnBrk="0" hangingPunct="1">
        <a:lnSpc>
          <a:spcPct val="90000"/>
        </a:lnSpc>
        <a:spcBef>
          <a:spcPct val="0"/>
        </a:spcBef>
        <a:buNone/>
        <a:defRPr lang="en-US" sz="5399" b="0" kern="1200" cap="none" spc="-102" baseline="0" dirty="0" smtClean="0">
          <a:ln w="3175">
            <a:noFill/>
          </a:ln>
          <a:solidFill>
            <a:schemeClr val="tx2"/>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C277EF7-2C4E-4095-9D0F-E1EAC7C61F4B}" type="datetimeFigureOut">
              <a:rPr lang="en-US" smtClean="0"/>
              <a:t>3/25/2017</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D6BF1239-D152-4618-A80F-D9ADC13707B3}" type="slidenum">
              <a:rPr lang="en-US" smtClean="0"/>
              <a:t>‹Nº›</a:t>
            </a:fld>
            <a:endParaRPr lang="en-US" dirty="0"/>
          </a:p>
        </p:txBody>
      </p:sp>
    </p:spTree>
    <p:extLst>
      <p:ext uri="{BB962C8B-B14F-4D97-AF65-F5344CB8AC3E}">
        <p14:creationId xmlns:p14="http://schemas.microsoft.com/office/powerpoint/2010/main" val="541794858"/>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23"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9.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19.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9.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6.xml"/><Relationship Id="rId7" Type="http://schemas.openxmlformats.org/officeDocument/2006/relationships/image" Target="../media/image26.png"/><Relationship Id="rId2" Type="http://schemas.openxmlformats.org/officeDocument/2006/relationships/slideLayout" Target="../slideLayouts/slideLayout19.xml"/><Relationship Id="rId1" Type="http://schemas.openxmlformats.org/officeDocument/2006/relationships/themeOverride" Target="../theme/themeOverride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27.png"/><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hyperlink" Target="mailto:rafazgz@live.com"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comments" Target="../comments/comment1.xml"/><Relationship Id="rId4" Type="http://schemas.openxmlformats.org/officeDocument/2006/relationships/diagramLayout" Target="../diagrams/layout1.xml"/><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19.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1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comments" Target="../comments/comment2.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19.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1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19.png"/><Relationship Id="rId2" Type="http://schemas.openxmlformats.org/officeDocument/2006/relationships/diagramData" Target="../diagrams/data7.xml"/><Relationship Id="rId1" Type="http://schemas.openxmlformats.org/officeDocument/2006/relationships/slideLayout" Target="../slideLayouts/slideLayout1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9.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1" name="TextBox 2580"/>
          <p:cNvSpPr txBox="1"/>
          <p:nvPr/>
        </p:nvSpPr>
        <p:spPr>
          <a:xfrm>
            <a:off x="513567" y="2610002"/>
            <a:ext cx="11922908" cy="1874316"/>
          </a:xfrm>
          <a:prstGeom prst="rect">
            <a:avLst/>
          </a:prstGeom>
          <a:noFill/>
        </p:spPr>
        <p:txBody>
          <a:bodyPr wrap="square" lIns="182880" tIns="146304" rIns="182880" bIns="146304" rtlCol="0">
            <a:noAutofit/>
          </a:bodyPr>
          <a:lstStyle/>
          <a:p>
            <a:pPr>
              <a:lnSpc>
                <a:spcPct val="90000"/>
              </a:lnSpc>
              <a:spcAft>
                <a:spcPts val="1200"/>
              </a:spcAft>
            </a:pPr>
            <a:r>
              <a:rPr lang="en-US" sz="6600" dirty="0" err="1" smtClean="0">
                <a:solidFill>
                  <a:srgbClr val="0078D7"/>
                </a:solidFill>
                <a:latin typeface="Segoe UI Light"/>
              </a:rPr>
              <a:t>Principios</a:t>
            </a:r>
            <a:r>
              <a:rPr lang="en-US" sz="6600" dirty="0" smtClean="0">
                <a:solidFill>
                  <a:srgbClr val="0078D7"/>
                </a:solidFill>
                <a:latin typeface="Segoe UI Light"/>
              </a:rPr>
              <a:t> SOLID y Unit Testing</a:t>
            </a:r>
            <a:endParaRPr lang="en-US" sz="6600" dirty="0">
              <a:solidFill>
                <a:srgbClr val="0078D7"/>
              </a:solidFill>
              <a:latin typeface="Segoe UI Light"/>
            </a:endParaRPr>
          </a:p>
          <a:p>
            <a:pPr>
              <a:lnSpc>
                <a:spcPct val="90000"/>
              </a:lnSpc>
              <a:spcAft>
                <a:spcPts val="1200"/>
              </a:spcAft>
            </a:pPr>
            <a:r>
              <a:rPr lang="en-US" sz="3200" dirty="0">
                <a:solidFill>
                  <a:srgbClr val="002050"/>
                </a:solidFill>
                <a:latin typeface="Segoe UI Light"/>
              </a:rPr>
              <a:t>p</a:t>
            </a:r>
            <a:r>
              <a:rPr lang="en-US" sz="3200" dirty="0" smtClean="0">
                <a:solidFill>
                  <a:srgbClr val="002050"/>
                </a:solidFill>
                <a:latin typeface="Segoe UI Light"/>
              </a:rPr>
              <a:t>ara el </a:t>
            </a:r>
            <a:r>
              <a:rPr lang="en-US" sz="3200" dirty="0" err="1" smtClean="0">
                <a:solidFill>
                  <a:srgbClr val="002050"/>
                </a:solidFill>
                <a:latin typeface="Segoe UI Light"/>
              </a:rPr>
              <a:t>desarrollo</a:t>
            </a:r>
            <a:r>
              <a:rPr lang="en-US" sz="3200" dirty="0" smtClean="0">
                <a:solidFill>
                  <a:srgbClr val="002050"/>
                </a:solidFill>
                <a:latin typeface="Segoe UI Light"/>
              </a:rPr>
              <a:t> de software </a:t>
            </a:r>
            <a:r>
              <a:rPr lang="en-US" sz="3200" dirty="0" err="1" smtClean="0">
                <a:solidFill>
                  <a:srgbClr val="002050"/>
                </a:solidFill>
                <a:latin typeface="Segoe UI Light"/>
              </a:rPr>
              <a:t>mantenible</a:t>
            </a:r>
            <a:r>
              <a:rPr lang="en-US" sz="3200" dirty="0" smtClean="0">
                <a:solidFill>
                  <a:srgbClr val="002050"/>
                </a:solidFill>
                <a:latin typeface="Segoe UI Light"/>
              </a:rPr>
              <a:t>, extensible y testable</a:t>
            </a:r>
            <a:endParaRPr lang="en-US" sz="3200" dirty="0">
              <a:solidFill>
                <a:srgbClr val="002050"/>
              </a:solidFill>
              <a:latin typeface="Segoe UI Light"/>
            </a:endParaRPr>
          </a:p>
        </p:txBody>
      </p:sp>
      <p:pic>
        <p:nvPicPr>
          <p:cNvPr id="3" name="Imagen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80478" y="544962"/>
            <a:ext cx="4026641" cy="1419391"/>
          </a:xfrm>
          <a:prstGeom prst="rect">
            <a:avLst/>
          </a:prstGeom>
        </p:spPr>
      </p:pic>
    </p:spTree>
    <p:extLst>
      <p:ext uri="{BB962C8B-B14F-4D97-AF65-F5344CB8AC3E}">
        <p14:creationId xmlns:p14="http://schemas.microsoft.com/office/powerpoint/2010/main" val="322332319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err="1" smtClean="0"/>
              <a:t>Unit</a:t>
            </a:r>
            <a:r>
              <a:rPr lang="es-ES" dirty="0" smtClean="0"/>
              <a:t> </a:t>
            </a:r>
            <a:r>
              <a:rPr lang="es-ES" dirty="0" err="1" smtClean="0"/>
              <a:t>Testing</a:t>
            </a:r>
            <a:r>
              <a:rPr lang="es-ES" dirty="0" smtClean="0"/>
              <a:t> – Condiciones Límite</a:t>
            </a:r>
            <a:endParaRPr lang="es-ES" dirty="0"/>
          </a:p>
        </p:txBody>
      </p:sp>
      <p:sp>
        <p:nvSpPr>
          <p:cNvPr id="3" name="Marcador de número de diapositiva 2"/>
          <p:cNvSpPr>
            <a:spLocks noGrp="1"/>
          </p:cNvSpPr>
          <p:nvPr>
            <p:ph type="sldNum" sz="quarter" idx="11"/>
          </p:nvPr>
        </p:nvSpPr>
        <p:spPr/>
        <p:txBody>
          <a:bodyPr/>
          <a:lstStyle/>
          <a:p>
            <a:pPr defTabSz="932563"/>
            <a:fld id="{27258FFF-F925-446B-8502-81C933981705}" type="slidenum">
              <a:rPr lang="en-US" smtClean="0">
                <a:solidFill>
                  <a:srgbClr val="505050"/>
                </a:solidFill>
              </a:rPr>
              <a:pPr defTabSz="932563"/>
              <a:t>10</a:t>
            </a:fld>
            <a:endParaRPr lang="en-US" dirty="0">
              <a:solidFill>
                <a:srgbClr val="505050"/>
              </a:solidFill>
            </a:endParaRPr>
          </a:p>
        </p:txBody>
      </p:sp>
      <p:graphicFrame>
        <p:nvGraphicFramePr>
          <p:cNvPr id="7" name="Diagrama 6"/>
          <p:cNvGraphicFramePr/>
          <p:nvPr>
            <p:extLst>
              <p:ext uri="{D42A27DB-BD31-4B8C-83A1-F6EECF244321}">
                <p14:modId xmlns:p14="http://schemas.microsoft.com/office/powerpoint/2010/main" val="3371261265"/>
              </p:ext>
            </p:extLst>
          </p:nvPr>
        </p:nvGraphicFramePr>
        <p:xfrm>
          <a:off x="585215" y="1362266"/>
          <a:ext cx="11226195" cy="53402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509810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graphicEl>
                                              <a:dgm id="{73883DBE-8DD2-424A-BEB9-D95B11351675}"/>
                                            </p:graphicEl>
                                          </p:spTgt>
                                        </p:tgtEl>
                                        <p:attrNameLst>
                                          <p:attrName>style.visibility</p:attrName>
                                        </p:attrNameLst>
                                      </p:cBhvr>
                                      <p:to>
                                        <p:strVal val="visible"/>
                                      </p:to>
                                    </p:set>
                                    <p:anim calcmode="lin" valueType="num">
                                      <p:cBhvr additive="base">
                                        <p:cTn id="7" dur="500" fill="hold"/>
                                        <p:tgtEl>
                                          <p:spTgt spid="7">
                                            <p:graphicEl>
                                              <a:dgm id="{73883DBE-8DD2-424A-BEB9-D95B11351675}"/>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graphicEl>
                                              <a:dgm id="{73883DBE-8DD2-424A-BEB9-D95B11351675}"/>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graphicEl>
                                              <a:dgm id="{76B41CD9-6A19-4DD0-BF95-5316FE873AE5}"/>
                                            </p:graphicEl>
                                          </p:spTgt>
                                        </p:tgtEl>
                                        <p:attrNameLst>
                                          <p:attrName>style.visibility</p:attrName>
                                        </p:attrNameLst>
                                      </p:cBhvr>
                                      <p:to>
                                        <p:strVal val="visible"/>
                                      </p:to>
                                    </p:set>
                                    <p:anim calcmode="lin" valueType="num">
                                      <p:cBhvr additive="base">
                                        <p:cTn id="13" dur="500" fill="hold"/>
                                        <p:tgtEl>
                                          <p:spTgt spid="7">
                                            <p:graphicEl>
                                              <a:dgm id="{76B41CD9-6A19-4DD0-BF95-5316FE873AE5}"/>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graphicEl>
                                              <a:dgm id="{76B41CD9-6A19-4DD0-BF95-5316FE873AE5}"/>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graphicEl>
                                              <a:dgm id="{4B3EBE97-C5AE-4EEE-9B23-6594E1EE6BCD}"/>
                                            </p:graphicEl>
                                          </p:spTgt>
                                        </p:tgtEl>
                                        <p:attrNameLst>
                                          <p:attrName>style.visibility</p:attrName>
                                        </p:attrNameLst>
                                      </p:cBhvr>
                                      <p:to>
                                        <p:strVal val="visible"/>
                                      </p:to>
                                    </p:set>
                                    <p:anim calcmode="lin" valueType="num">
                                      <p:cBhvr additive="base">
                                        <p:cTn id="19" dur="500" fill="hold"/>
                                        <p:tgtEl>
                                          <p:spTgt spid="7">
                                            <p:graphicEl>
                                              <a:dgm id="{4B3EBE97-C5AE-4EEE-9B23-6594E1EE6BCD}"/>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graphicEl>
                                              <a:dgm id="{4B3EBE97-C5AE-4EEE-9B23-6594E1EE6BCD}"/>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7">
                                            <p:graphicEl>
                                              <a:dgm id="{E191AE89-4085-441A-8BB3-49B48A68512C}"/>
                                            </p:graphicEl>
                                          </p:spTgt>
                                        </p:tgtEl>
                                        <p:attrNameLst>
                                          <p:attrName>style.visibility</p:attrName>
                                        </p:attrNameLst>
                                      </p:cBhvr>
                                      <p:to>
                                        <p:strVal val="visible"/>
                                      </p:to>
                                    </p:set>
                                    <p:anim calcmode="lin" valueType="num">
                                      <p:cBhvr additive="base">
                                        <p:cTn id="25" dur="500" fill="hold"/>
                                        <p:tgtEl>
                                          <p:spTgt spid="7">
                                            <p:graphicEl>
                                              <a:dgm id="{E191AE89-4085-441A-8BB3-49B48A68512C}"/>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7">
                                            <p:graphicEl>
                                              <a:dgm id="{E191AE89-4085-441A-8BB3-49B48A68512C}"/>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7">
                                            <p:graphicEl>
                                              <a:dgm id="{6412BDCB-D351-4A47-93DA-99E9161C2391}"/>
                                            </p:graphicEl>
                                          </p:spTgt>
                                        </p:tgtEl>
                                        <p:attrNameLst>
                                          <p:attrName>style.visibility</p:attrName>
                                        </p:attrNameLst>
                                      </p:cBhvr>
                                      <p:to>
                                        <p:strVal val="visible"/>
                                      </p:to>
                                    </p:set>
                                    <p:anim calcmode="lin" valueType="num">
                                      <p:cBhvr additive="base">
                                        <p:cTn id="31" dur="500" fill="hold"/>
                                        <p:tgtEl>
                                          <p:spTgt spid="7">
                                            <p:graphicEl>
                                              <a:dgm id="{6412BDCB-D351-4A47-93DA-99E9161C2391}"/>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7">
                                            <p:graphicEl>
                                              <a:dgm id="{6412BDCB-D351-4A47-93DA-99E9161C2391}"/>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7">
                                            <p:graphicEl>
                                              <a:dgm id="{B00F8DEE-E1B0-4EB7-BD1E-4A5E8E6EC72E}"/>
                                            </p:graphicEl>
                                          </p:spTgt>
                                        </p:tgtEl>
                                        <p:attrNameLst>
                                          <p:attrName>style.visibility</p:attrName>
                                        </p:attrNameLst>
                                      </p:cBhvr>
                                      <p:to>
                                        <p:strVal val="visible"/>
                                      </p:to>
                                    </p:set>
                                    <p:anim calcmode="lin" valueType="num">
                                      <p:cBhvr additive="base">
                                        <p:cTn id="37" dur="500" fill="hold"/>
                                        <p:tgtEl>
                                          <p:spTgt spid="7">
                                            <p:graphicEl>
                                              <a:dgm id="{B00F8DEE-E1B0-4EB7-BD1E-4A5E8E6EC72E}"/>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7">
                                            <p:graphicEl>
                                              <a:dgm id="{B00F8DEE-E1B0-4EB7-BD1E-4A5E8E6EC72E}"/>
                                            </p:graphic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7">
                                            <p:graphicEl>
                                              <a:dgm id="{8F1A6C90-FB5C-4090-857F-88D93189069B}"/>
                                            </p:graphicEl>
                                          </p:spTgt>
                                        </p:tgtEl>
                                        <p:attrNameLst>
                                          <p:attrName>style.visibility</p:attrName>
                                        </p:attrNameLst>
                                      </p:cBhvr>
                                      <p:to>
                                        <p:strVal val="visible"/>
                                      </p:to>
                                    </p:set>
                                    <p:anim calcmode="lin" valueType="num">
                                      <p:cBhvr additive="base">
                                        <p:cTn id="43" dur="500" fill="hold"/>
                                        <p:tgtEl>
                                          <p:spTgt spid="7">
                                            <p:graphicEl>
                                              <a:dgm id="{8F1A6C90-FB5C-4090-857F-88D93189069B}"/>
                                            </p:graphicEl>
                                          </p:spTgt>
                                        </p:tgtEl>
                                        <p:attrNameLst>
                                          <p:attrName>ppt_x</p:attrName>
                                        </p:attrNameLst>
                                      </p:cBhvr>
                                      <p:tavLst>
                                        <p:tav tm="0">
                                          <p:val>
                                            <p:strVal val="#ppt_x"/>
                                          </p:val>
                                        </p:tav>
                                        <p:tav tm="100000">
                                          <p:val>
                                            <p:strVal val="#ppt_x"/>
                                          </p:val>
                                        </p:tav>
                                      </p:tavLst>
                                    </p:anim>
                                    <p:anim calcmode="lin" valueType="num">
                                      <p:cBhvr additive="base">
                                        <p:cTn id="44" dur="500" fill="hold"/>
                                        <p:tgtEl>
                                          <p:spTgt spid="7">
                                            <p:graphicEl>
                                              <a:dgm id="{8F1A6C90-FB5C-4090-857F-88D93189069B}"/>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ctrTitle"/>
          </p:nvPr>
        </p:nvSpPr>
        <p:spPr/>
        <p:txBody>
          <a:bodyPr/>
          <a:lstStyle/>
          <a:p>
            <a:r>
              <a:rPr lang="es-ES" u="sng" dirty="0" smtClean="0"/>
              <a:t>Demo</a:t>
            </a:r>
            <a:endParaRPr lang="es-ES" u="sng" dirty="0"/>
          </a:p>
        </p:txBody>
      </p:sp>
      <p:sp>
        <p:nvSpPr>
          <p:cNvPr id="8" name="Subtítulo 7"/>
          <p:cNvSpPr>
            <a:spLocks noGrp="1"/>
          </p:cNvSpPr>
          <p:nvPr>
            <p:ph type="subTitle" idx="1"/>
          </p:nvPr>
        </p:nvSpPr>
        <p:spPr/>
        <p:txBody>
          <a:bodyPr/>
          <a:lstStyle/>
          <a:p>
            <a:r>
              <a:rPr lang="es-ES" dirty="0" smtClean="0"/>
              <a:t>Primeros problemas</a:t>
            </a:r>
            <a:endParaRPr lang="es-ES" dirty="0"/>
          </a:p>
        </p:txBody>
      </p:sp>
      <p:sp>
        <p:nvSpPr>
          <p:cNvPr id="3" name="Marcador de número de diapositiva 2"/>
          <p:cNvSpPr>
            <a:spLocks noGrp="1"/>
          </p:cNvSpPr>
          <p:nvPr>
            <p:ph type="sldNum" sz="quarter" idx="12"/>
          </p:nvPr>
        </p:nvSpPr>
        <p:spPr/>
        <p:txBody>
          <a:bodyPr/>
          <a:lstStyle/>
          <a:p>
            <a:pPr defTabSz="932563"/>
            <a:fld id="{27258FFF-F925-446B-8502-81C933981705}" type="slidenum">
              <a:rPr lang="en-US" smtClean="0">
                <a:solidFill>
                  <a:srgbClr val="505050"/>
                </a:solidFill>
              </a:rPr>
              <a:pPr defTabSz="932563"/>
              <a:t>11</a:t>
            </a:fld>
            <a:endParaRPr lang="en-US" dirty="0">
              <a:solidFill>
                <a:srgbClr val="505050"/>
              </a:solidFill>
            </a:endParaRPr>
          </a:p>
        </p:txBody>
      </p:sp>
    </p:spTree>
    <p:extLst>
      <p:ext uri="{BB962C8B-B14F-4D97-AF65-F5344CB8AC3E}">
        <p14:creationId xmlns:p14="http://schemas.microsoft.com/office/powerpoint/2010/main" val="34687895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Principios</a:t>
            </a:r>
            <a:r>
              <a:rPr lang="es-ES" dirty="0" smtClean="0"/>
              <a:t> R-</a:t>
            </a:r>
            <a:r>
              <a:rPr lang="es-ES" b="1" dirty="0" smtClean="0">
                <a:solidFill>
                  <a:schemeClr val="accent1">
                    <a:lumMod val="75000"/>
                  </a:schemeClr>
                </a:solidFill>
                <a:effectLst>
                  <a:outerShdw blurRad="38100" dist="38100" dir="2700000" algn="tl">
                    <a:srgbClr val="000000">
                      <a:alpha val="43137"/>
                    </a:srgbClr>
                  </a:outerShdw>
                </a:effectLst>
              </a:rPr>
              <a:t>SOLID</a:t>
            </a:r>
            <a:endParaRPr lang="es-ES" b="1" dirty="0">
              <a:solidFill>
                <a:schemeClr val="accent1">
                  <a:lumMod val="75000"/>
                </a:schemeClr>
              </a:solidFill>
              <a:effectLst>
                <a:outerShdw blurRad="38100" dist="38100" dir="2700000" algn="tl">
                  <a:srgbClr val="000000">
                    <a:alpha val="43137"/>
                  </a:srgbClr>
                </a:outerShdw>
              </a:effectLst>
            </a:endParaRPr>
          </a:p>
        </p:txBody>
      </p:sp>
      <p:sp>
        <p:nvSpPr>
          <p:cNvPr id="5" name="Forma libre 4"/>
          <p:cNvSpPr/>
          <p:nvPr/>
        </p:nvSpPr>
        <p:spPr>
          <a:xfrm>
            <a:off x="2507934" y="1254034"/>
            <a:ext cx="1670400" cy="5404821"/>
          </a:xfrm>
          <a:custGeom>
            <a:avLst/>
            <a:gdLst>
              <a:gd name="connsiteX0" fmla="*/ 0 w 1976919"/>
              <a:gd name="connsiteY0" fmla="*/ 197692 h 5527321"/>
              <a:gd name="connsiteX1" fmla="*/ 197692 w 1976919"/>
              <a:gd name="connsiteY1" fmla="*/ 0 h 5527321"/>
              <a:gd name="connsiteX2" fmla="*/ 1779227 w 1976919"/>
              <a:gd name="connsiteY2" fmla="*/ 0 h 5527321"/>
              <a:gd name="connsiteX3" fmla="*/ 1976919 w 1976919"/>
              <a:gd name="connsiteY3" fmla="*/ 197692 h 5527321"/>
              <a:gd name="connsiteX4" fmla="*/ 1976919 w 1976919"/>
              <a:gd name="connsiteY4" fmla="*/ 5329629 h 5527321"/>
              <a:gd name="connsiteX5" fmla="*/ 1779227 w 1976919"/>
              <a:gd name="connsiteY5" fmla="*/ 5527321 h 5527321"/>
              <a:gd name="connsiteX6" fmla="*/ 197692 w 1976919"/>
              <a:gd name="connsiteY6" fmla="*/ 5527321 h 5527321"/>
              <a:gd name="connsiteX7" fmla="*/ 0 w 1976919"/>
              <a:gd name="connsiteY7" fmla="*/ 5329629 h 5527321"/>
              <a:gd name="connsiteX8" fmla="*/ 0 w 1976919"/>
              <a:gd name="connsiteY8" fmla="*/ 197692 h 552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6919" h="5527321">
                <a:moveTo>
                  <a:pt x="0" y="197692"/>
                </a:moveTo>
                <a:cubicBezTo>
                  <a:pt x="0" y="88510"/>
                  <a:pt x="88510" y="0"/>
                  <a:pt x="197692" y="0"/>
                </a:cubicBezTo>
                <a:lnTo>
                  <a:pt x="1779227" y="0"/>
                </a:lnTo>
                <a:cubicBezTo>
                  <a:pt x="1888409" y="0"/>
                  <a:pt x="1976919" y="88510"/>
                  <a:pt x="1976919" y="197692"/>
                </a:cubicBezTo>
                <a:lnTo>
                  <a:pt x="1976919" y="5329629"/>
                </a:lnTo>
                <a:cubicBezTo>
                  <a:pt x="1976919" y="5438811"/>
                  <a:pt x="1888409" y="5527321"/>
                  <a:pt x="1779227" y="5527321"/>
                </a:cubicBezTo>
                <a:lnTo>
                  <a:pt x="197692" y="5527321"/>
                </a:lnTo>
                <a:cubicBezTo>
                  <a:pt x="88510" y="5527321"/>
                  <a:pt x="0" y="5438811"/>
                  <a:pt x="0" y="5329629"/>
                </a:cubicBezTo>
                <a:lnTo>
                  <a:pt x="0" y="197692"/>
                </a:lnTo>
                <a:close/>
              </a:path>
            </a:pathLst>
          </a:custGeom>
          <a:ln>
            <a:solidFill>
              <a:srgbClr val="C00000"/>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247650" tIns="247650" rIns="247650" bIns="4116775" numCol="1" spcCol="1270" anchor="ctr" anchorCtr="0">
            <a:noAutofit/>
          </a:bodyPr>
          <a:lstStyle/>
          <a:p>
            <a:pPr lvl="0" algn="ctr" defTabSz="2889250">
              <a:lnSpc>
                <a:spcPct val="90000"/>
              </a:lnSpc>
              <a:spcBef>
                <a:spcPct val="0"/>
              </a:spcBef>
              <a:spcAft>
                <a:spcPct val="35000"/>
              </a:spcAft>
            </a:pPr>
            <a:r>
              <a:rPr lang="es-ES" sz="6500" b="1" kern="1200" dirty="0" smtClean="0"/>
              <a:t>S</a:t>
            </a:r>
            <a:endParaRPr lang="es-ES" sz="6500" b="1" kern="1200" dirty="0"/>
          </a:p>
        </p:txBody>
      </p:sp>
      <p:sp>
        <p:nvSpPr>
          <p:cNvPr id="6" name="Forma libre 5"/>
          <p:cNvSpPr/>
          <p:nvPr/>
        </p:nvSpPr>
        <p:spPr>
          <a:xfrm>
            <a:off x="2666984" y="2897960"/>
            <a:ext cx="1352300" cy="3484527"/>
          </a:xfrm>
          <a:custGeom>
            <a:avLst/>
            <a:gdLst>
              <a:gd name="connsiteX0" fmla="*/ 0 w 1581535"/>
              <a:gd name="connsiteY0" fmla="*/ 158154 h 3592759"/>
              <a:gd name="connsiteX1" fmla="*/ 158154 w 1581535"/>
              <a:gd name="connsiteY1" fmla="*/ 0 h 3592759"/>
              <a:gd name="connsiteX2" fmla="*/ 1423382 w 1581535"/>
              <a:gd name="connsiteY2" fmla="*/ 0 h 3592759"/>
              <a:gd name="connsiteX3" fmla="*/ 1581536 w 1581535"/>
              <a:gd name="connsiteY3" fmla="*/ 158154 h 3592759"/>
              <a:gd name="connsiteX4" fmla="*/ 1581535 w 1581535"/>
              <a:gd name="connsiteY4" fmla="*/ 3434606 h 3592759"/>
              <a:gd name="connsiteX5" fmla="*/ 1423381 w 1581535"/>
              <a:gd name="connsiteY5" fmla="*/ 3592760 h 3592759"/>
              <a:gd name="connsiteX6" fmla="*/ 158154 w 1581535"/>
              <a:gd name="connsiteY6" fmla="*/ 3592759 h 3592759"/>
              <a:gd name="connsiteX7" fmla="*/ 0 w 1581535"/>
              <a:gd name="connsiteY7" fmla="*/ 3434605 h 3592759"/>
              <a:gd name="connsiteX8" fmla="*/ 0 w 1581535"/>
              <a:gd name="connsiteY8" fmla="*/ 158154 h 359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1535" h="3592759">
                <a:moveTo>
                  <a:pt x="0" y="158154"/>
                </a:moveTo>
                <a:cubicBezTo>
                  <a:pt x="0" y="70808"/>
                  <a:pt x="70808" y="0"/>
                  <a:pt x="158154" y="0"/>
                </a:cubicBezTo>
                <a:lnTo>
                  <a:pt x="1423382" y="0"/>
                </a:lnTo>
                <a:cubicBezTo>
                  <a:pt x="1510728" y="0"/>
                  <a:pt x="1581536" y="70808"/>
                  <a:pt x="1581536" y="158154"/>
                </a:cubicBezTo>
                <a:cubicBezTo>
                  <a:pt x="1581536" y="1250305"/>
                  <a:pt x="1581535" y="2342455"/>
                  <a:pt x="1581535" y="3434606"/>
                </a:cubicBezTo>
                <a:cubicBezTo>
                  <a:pt x="1581535" y="3521952"/>
                  <a:pt x="1510727" y="3592760"/>
                  <a:pt x="1423381" y="3592760"/>
                </a:cubicBezTo>
                <a:lnTo>
                  <a:pt x="158154" y="3592759"/>
                </a:lnTo>
                <a:cubicBezTo>
                  <a:pt x="70808" y="3592759"/>
                  <a:pt x="0" y="3521951"/>
                  <a:pt x="0" y="3434605"/>
                </a:cubicBezTo>
                <a:lnTo>
                  <a:pt x="0" y="15815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962" tIns="76802" rIns="86962" bIns="76802" numCol="1" spcCol="1270" anchor="ctr" anchorCtr="0">
            <a:noAutofit/>
          </a:bodyPr>
          <a:lstStyle/>
          <a:p>
            <a:pPr lvl="0" algn="ctr" defTabSz="711200">
              <a:lnSpc>
                <a:spcPct val="90000"/>
              </a:lnSpc>
              <a:spcBef>
                <a:spcPct val="0"/>
              </a:spcBef>
              <a:spcAft>
                <a:spcPct val="35000"/>
              </a:spcAft>
            </a:pPr>
            <a:endParaRPr lang="es-ES" sz="1600" b="1" kern="1200" dirty="0" smtClean="0"/>
          </a:p>
          <a:p>
            <a:pPr lvl="0" algn="ctr" defTabSz="711200">
              <a:lnSpc>
                <a:spcPct val="90000"/>
              </a:lnSpc>
              <a:spcBef>
                <a:spcPct val="0"/>
              </a:spcBef>
              <a:spcAft>
                <a:spcPct val="35000"/>
              </a:spcAft>
            </a:pPr>
            <a:r>
              <a:rPr lang="es-ES" sz="1600" b="1" kern="1200" dirty="0" smtClean="0"/>
              <a:t>Single </a:t>
            </a:r>
            <a:r>
              <a:rPr lang="es-ES" sz="1600" b="1" kern="1200" dirty="0" err="1" smtClean="0"/>
              <a:t>responsability</a:t>
            </a:r>
            <a:r>
              <a:rPr lang="es-ES" sz="1600" b="1" kern="1200" dirty="0" smtClean="0"/>
              <a:t> </a:t>
            </a:r>
            <a:r>
              <a:rPr lang="es-ES" sz="1600" b="1" kern="1200" dirty="0" err="1" smtClean="0"/>
              <a:t>principle</a:t>
            </a:r>
            <a:endParaRPr lang="es-ES" sz="1600" b="1" kern="1200" dirty="0" smtClean="0"/>
          </a:p>
          <a:p>
            <a:pPr lvl="0" algn="ctr" defTabSz="711200">
              <a:lnSpc>
                <a:spcPct val="90000"/>
              </a:lnSpc>
              <a:spcBef>
                <a:spcPct val="0"/>
              </a:spcBef>
              <a:spcAft>
                <a:spcPct val="35000"/>
              </a:spcAft>
            </a:pPr>
            <a:endParaRPr lang="es-ES" sz="1600" b="1" dirty="0"/>
          </a:p>
          <a:p>
            <a:pPr lvl="0" algn="ctr" defTabSz="711200">
              <a:lnSpc>
                <a:spcPct val="90000"/>
              </a:lnSpc>
              <a:spcBef>
                <a:spcPct val="0"/>
              </a:spcBef>
              <a:spcAft>
                <a:spcPct val="35000"/>
              </a:spcAft>
            </a:pPr>
            <a:endParaRPr lang="es-ES" sz="1600" b="1" kern="1200" dirty="0" smtClean="0"/>
          </a:p>
          <a:p>
            <a:pPr lvl="0" algn="ctr" defTabSz="711200">
              <a:lnSpc>
                <a:spcPct val="90000"/>
              </a:lnSpc>
              <a:spcBef>
                <a:spcPct val="0"/>
              </a:spcBef>
              <a:spcAft>
                <a:spcPct val="35000"/>
              </a:spcAft>
            </a:pPr>
            <a:endParaRPr lang="es-ES" sz="1600" b="1" kern="1200" dirty="0" smtClean="0"/>
          </a:p>
          <a:p>
            <a:pPr algn="ctr" defTabSz="711200">
              <a:lnSpc>
                <a:spcPct val="90000"/>
              </a:lnSpc>
              <a:spcAft>
                <a:spcPct val="35000"/>
              </a:spcAft>
            </a:pPr>
            <a:r>
              <a:rPr lang="es-ES" sz="1400" b="1" dirty="0"/>
              <a:t>Solo una razón de cambio</a:t>
            </a:r>
          </a:p>
          <a:p>
            <a:pPr lvl="0" algn="ctr" defTabSz="711200">
              <a:lnSpc>
                <a:spcPct val="90000"/>
              </a:lnSpc>
              <a:spcBef>
                <a:spcPct val="0"/>
              </a:spcBef>
              <a:spcAft>
                <a:spcPct val="35000"/>
              </a:spcAft>
            </a:pPr>
            <a:endParaRPr lang="es-ES" sz="1600" b="1" kern="1200" dirty="0" smtClean="0"/>
          </a:p>
        </p:txBody>
      </p:sp>
      <p:sp>
        <p:nvSpPr>
          <p:cNvPr id="7" name="Forma libre 6"/>
          <p:cNvSpPr/>
          <p:nvPr/>
        </p:nvSpPr>
        <p:spPr>
          <a:xfrm>
            <a:off x="4491382" y="1254034"/>
            <a:ext cx="1670400" cy="5404821"/>
          </a:xfrm>
          <a:custGeom>
            <a:avLst/>
            <a:gdLst>
              <a:gd name="connsiteX0" fmla="*/ 0 w 1976919"/>
              <a:gd name="connsiteY0" fmla="*/ 197692 h 5527321"/>
              <a:gd name="connsiteX1" fmla="*/ 197692 w 1976919"/>
              <a:gd name="connsiteY1" fmla="*/ 0 h 5527321"/>
              <a:gd name="connsiteX2" fmla="*/ 1779227 w 1976919"/>
              <a:gd name="connsiteY2" fmla="*/ 0 h 5527321"/>
              <a:gd name="connsiteX3" fmla="*/ 1976919 w 1976919"/>
              <a:gd name="connsiteY3" fmla="*/ 197692 h 5527321"/>
              <a:gd name="connsiteX4" fmla="*/ 1976919 w 1976919"/>
              <a:gd name="connsiteY4" fmla="*/ 5329629 h 5527321"/>
              <a:gd name="connsiteX5" fmla="*/ 1779227 w 1976919"/>
              <a:gd name="connsiteY5" fmla="*/ 5527321 h 5527321"/>
              <a:gd name="connsiteX6" fmla="*/ 197692 w 1976919"/>
              <a:gd name="connsiteY6" fmla="*/ 5527321 h 5527321"/>
              <a:gd name="connsiteX7" fmla="*/ 0 w 1976919"/>
              <a:gd name="connsiteY7" fmla="*/ 5329629 h 5527321"/>
              <a:gd name="connsiteX8" fmla="*/ 0 w 1976919"/>
              <a:gd name="connsiteY8" fmla="*/ 197692 h 552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6919" h="5527321">
                <a:moveTo>
                  <a:pt x="0" y="197692"/>
                </a:moveTo>
                <a:cubicBezTo>
                  <a:pt x="0" y="88510"/>
                  <a:pt x="88510" y="0"/>
                  <a:pt x="197692" y="0"/>
                </a:cubicBezTo>
                <a:lnTo>
                  <a:pt x="1779227" y="0"/>
                </a:lnTo>
                <a:cubicBezTo>
                  <a:pt x="1888409" y="0"/>
                  <a:pt x="1976919" y="88510"/>
                  <a:pt x="1976919" y="197692"/>
                </a:cubicBezTo>
                <a:lnTo>
                  <a:pt x="1976919" y="5329629"/>
                </a:lnTo>
                <a:cubicBezTo>
                  <a:pt x="1976919" y="5438811"/>
                  <a:pt x="1888409" y="5527321"/>
                  <a:pt x="1779227" y="5527321"/>
                </a:cubicBezTo>
                <a:lnTo>
                  <a:pt x="197692" y="5527321"/>
                </a:lnTo>
                <a:cubicBezTo>
                  <a:pt x="88510" y="5527321"/>
                  <a:pt x="0" y="5438811"/>
                  <a:pt x="0" y="5329629"/>
                </a:cubicBezTo>
                <a:lnTo>
                  <a:pt x="0" y="197692"/>
                </a:lnTo>
                <a:close/>
              </a:path>
            </a:pathLst>
          </a:custGeom>
          <a:ln>
            <a:solidFill>
              <a:srgbClr val="C00000"/>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247650" tIns="247650" rIns="247650" bIns="4116775" numCol="1" spcCol="1270" anchor="ctr" anchorCtr="0">
            <a:noAutofit/>
          </a:bodyPr>
          <a:lstStyle/>
          <a:p>
            <a:pPr lvl="0" algn="ctr" defTabSz="2889250">
              <a:lnSpc>
                <a:spcPct val="90000"/>
              </a:lnSpc>
              <a:spcBef>
                <a:spcPct val="0"/>
              </a:spcBef>
              <a:spcAft>
                <a:spcPct val="35000"/>
              </a:spcAft>
            </a:pPr>
            <a:r>
              <a:rPr lang="es-ES" sz="6500" b="1" kern="1200" dirty="0" smtClean="0"/>
              <a:t>O</a:t>
            </a:r>
            <a:endParaRPr lang="es-ES" sz="6500" b="1" kern="1200" dirty="0"/>
          </a:p>
        </p:txBody>
      </p:sp>
      <p:sp>
        <p:nvSpPr>
          <p:cNvPr id="8" name="Forma libre 7"/>
          <p:cNvSpPr/>
          <p:nvPr/>
        </p:nvSpPr>
        <p:spPr>
          <a:xfrm>
            <a:off x="4659891" y="2897962"/>
            <a:ext cx="1352300" cy="3484527"/>
          </a:xfrm>
          <a:custGeom>
            <a:avLst/>
            <a:gdLst>
              <a:gd name="connsiteX0" fmla="*/ 0 w 1581535"/>
              <a:gd name="connsiteY0" fmla="*/ 158154 h 3592759"/>
              <a:gd name="connsiteX1" fmla="*/ 158154 w 1581535"/>
              <a:gd name="connsiteY1" fmla="*/ 0 h 3592759"/>
              <a:gd name="connsiteX2" fmla="*/ 1423382 w 1581535"/>
              <a:gd name="connsiteY2" fmla="*/ 0 h 3592759"/>
              <a:gd name="connsiteX3" fmla="*/ 1581536 w 1581535"/>
              <a:gd name="connsiteY3" fmla="*/ 158154 h 3592759"/>
              <a:gd name="connsiteX4" fmla="*/ 1581535 w 1581535"/>
              <a:gd name="connsiteY4" fmla="*/ 3434606 h 3592759"/>
              <a:gd name="connsiteX5" fmla="*/ 1423381 w 1581535"/>
              <a:gd name="connsiteY5" fmla="*/ 3592760 h 3592759"/>
              <a:gd name="connsiteX6" fmla="*/ 158154 w 1581535"/>
              <a:gd name="connsiteY6" fmla="*/ 3592759 h 3592759"/>
              <a:gd name="connsiteX7" fmla="*/ 0 w 1581535"/>
              <a:gd name="connsiteY7" fmla="*/ 3434605 h 3592759"/>
              <a:gd name="connsiteX8" fmla="*/ 0 w 1581535"/>
              <a:gd name="connsiteY8" fmla="*/ 158154 h 359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1535" h="3592759">
                <a:moveTo>
                  <a:pt x="0" y="158154"/>
                </a:moveTo>
                <a:cubicBezTo>
                  <a:pt x="0" y="70808"/>
                  <a:pt x="70808" y="0"/>
                  <a:pt x="158154" y="0"/>
                </a:cubicBezTo>
                <a:lnTo>
                  <a:pt x="1423382" y="0"/>
                </a:lnTo>
                <a:cubicBezTo>
                  <a:pt x="1510728" y="0"/>
                  <a:pt x="1581536" y="70808"/>
                  <a:pt x="1581536" y="158154"/>
                </a:cubicBezTo>
                <a:cubicBezTo>
                  <a:pt x="1581536" y="1250305"/>
                  <a:pt x="1581535" y="2342455"/>
                  <a:pt x="1581535" y="3434606"/>
                </a:cubicBezTo>
                <a:cubicBezTo>
                  <a:pt x="1581535" y="3521952"/>
                  <a:pt x="1510727" y="3592760"/>
                  <a:pt x="1423381" y="3592760"/>
                </a:cubicBezTo>
                <a:lnTo>
                  <a:pt x="158154" y="3592759"/>
                </a:lnTo>
                <a:cubicBezTo>
                  <a:pt x="70808" y="3592759"/>
                  <a:pt x="0" y="3521951"/>
                  <a:pt x="0" y="3434605"/>
                </a:cubicBezTo>
                <a:lnTo>
                  <a:pt x="0" y="15815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962" tIns="76802" rIns="86962" bIns="76802" numCol="1" spcCol="1270" anchor="ctr" anchorCtr="0">
            <a:noAutofit/>
          </a:bodyPr>
          <a:lstStyle/>
          <a:p>
            <a:pPr lvl="0" algn="ctr" defTabSz="711200">
              <a:lnSpc>
                <a:spcPct val="90000"/>
              </a:lnSpc>
              <a:spcBef>
                <a:spcPct val="0"/>
              </a:spcBef>
              <a:spcAft>
                <a:spcPct val="35000"/>
              </a:spcAft>
            </a:pPr>
            <a:endParaRPr lang="es-ES" sz="1600" b="1" kern="1200" dirty="0" smtClean="0"/>
          </a:p>
          <a:p>
            <a:pPr lvl="0" algn="ctr" defTabSz="711200">
              <a:lnSpc>
                <a:spcPct val="90000"/>
              </a:lnSpc>
              <a:spcBef>
                <a:spcPct val="0"/>
              </a:spcBef>
              <a:spcAft>
                <a:spcPct val="35000"/>
              </a:spcAft>
            </a:pPr>
            <a:r>
              <a:rPr lang="es-ES" sz="1600" b="1" kern="1200" dirty="0" smtClean="0"/>
              <a:t>Open – </a:t>
            </a:r>
            <a:r>
              <a:rPr lang="es-ES" sz="1600" b="1" kern="1200" dirty="0" err="1" smtClean="0"/>
              <a:t>Close</a:t>
            </a:r>
            <a:r>
              <a:rPr lang="es-ES" sz="1600" b="1" kern="1200" dirty="0" smtClean="0"/>
              <a:t> </a:t>
            </a:r>
            <a:r>
              <a:rPr lang="es-ES" sz="1600" b="1" kern="1200" dirty="0" err="1" smtClean="0"/>
              <a:t>principle</a:t>
            </a:r>
            <a:endParaRPr lang="es-ES" sz="1600" b="1" dirty="0" smtClean="0"/>
          </a:p>
          <a:p>
            <a:pPr lvl="0" algn="ctr" defTabSz="711200">
              <a:lnSpc>
                <a:spcPct val="90000"/>
              </a:lnSpc>
              <a:spcBef>
                <a:spcPct val="0"/>
              </a:spcBef>
              <a:spcAft>
                <a:spcPct val="35000"/>
              </a:spcAft>
            </a:pPr>
            <a:endParaRPr lang="es-ES" sz="1600" b="1" dirty="0" smtClean="0"/>
          </a:p>
          <a:p>
            <a:pPr lvl="0" algn="ctr" defTabSz="711200">
              <a:lnSpc>
                <a:spcPct val="90000"/>
              </a:lnSpc>
              <a:spcBef>
                <a:spcPct val="0"/>
              </a:spcBef>
              <a:spcAft>
                <a:spcPct val="35000"/>
              </a:spcAft>
            </a:pPr>
            <a:endParaRPr lang="es-ES" sz="1600" b="1" dirty="0"/>
          </a:p>
          <a:p>
            <a:pPr lvl="0" algn="ctr" defTabSz="711200">
              <a:lnSpc>
                <a:spcPct val="90000"/>
              </a:lnSpc>
              <a:spcBef>
                <a:spcPct val="0"/>
              </a:spcBef>
              <a:spcAft>
                <a:spcPct val="35000"/>
              </a:spcAft>
            </a:pPr>
            <a:endParaRPr lang="es-ES" sz="1600" b="1" dirty="0"/>
          </a:p>
          <a:p>
            <a:pPr lvl="0" algn="ctr"/>
            <a:r>
              <a:rPr lang="es-ES" sz="1400" b="1" dirty="0"/>
              <a:t>Abierto Extensión</a:t>
            </a:r>
          </a:p>
          <a:p>
            <a:pPr lvl="0" algn="ctr"/>
            <a:r>
              <a:rPr lang="es-ES" sz="1400" b="1" dirty="0"/>
              <a:t>Cerrado Modificación</a:t>
            </a:r>
          </a:p>
          <a:p>
            <a:pPr lvl="0" algn="ctr" defTabSz="711200">
              <a:lnSpc>
                <a:spcPct val="90000"/>
              </a:lnSpc>
              <a:spcBef>
                <a:spcPct val="0"/>
              </a:spcBef>
              <a:spcAft>
                <a:spcPct val="35000"/>
              </a:spcAft>
            </a:pPr>
            <a:endParaRPr lang="es-ES" sz="1600" b="1" kern="1200" dirty="0"/>
          </a:p>
        </p:txBody>
      </p:sp>
      <p:sp>
        <p:nvSpPr>
          <p:cNvPr id="9" name="Forma libre 8"/>
          <p:cNvSpPr/>
          <p:nvPr/>
        </p:nvSpPr>
        <p:spPr>
          <a:xfrm>
            <a:off x="6490902" y="1254034"/>
            <a:ext cx="1670400" cy="5404821"/>
          </a:xfrm>
          <a:custGeom>
            <a:avLst/>
            <a:gdLst>
              <a:gd name="connsiteX0" fmla="*/ 0 w 1976919"/>
              <a:gd name="connsiteY0" fmla="*/ 197692 h 5527321"/>
              <a:gd name="connsiteX1" fmla="*/ 197692 w 1976919"/>
              <a:gd name="connsiteY1" fmla="*/ 0 h 5527321"/>
              <a:gd name="connsiteX2" fmla="*/ 1779227 w 1976919"/>
              <a:gd name="connsiteY2" fmla="*/ 0 h 5527321"/>
              <a:gd name="connsiteX3" fmla="*/ 1976919 w 1976919"/>
              <a:gd name="connsiteY3" fmla="*/ 197692 h 5527321"/>
              <a:gd name="connsiteX4" fmla="*/ 1976919 w 1976919"/>
              <a:gd name="connsiteY4" fmla="*/ 5329629 h 5527321"/>
              <a:gd name="connsiteX5" fmla="*/ 1779227 w 1976919"/>
              <a:gd name="connsiteY5" fmla="*/ 5527321 h 5527321"/>
              <a:gd name="connsiteX6" fmla="*/ 197692 w 1976919"/>
              <a:gd name="connsiteY6" fmla="*/ 5527321 h 5527321"/>
              <a:gd name="connsiteX7" fmla="*/ 0 w 1976919"/>
              <a:gd name="connsiteY7" fmla="*/ 5329629 h 5527321"/>
              <a:gd name="connsiteX8" fmla="*/ 0 w 1976919"/>
              <a:gd name="connsiteY8" fmla="*/ 197692 h 552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6919" h="5527321">
                <a:moveTo>
                  <a:pt x="0" y="197692"/>
                </a:moveTo>
                <a:cubicBezTo>
                  <a:pt x="0" y="88510"/>
                  <a:pt x="88510" y="0"/>
                  <a:pt x="197692" y="0"/>
                </a:cubicBezTo>
                <a:lnTo>
                  <a:pt x="1779227" y="0"/>
                </a:lnTo>
                <a:cubicBezTo>
                  <a:pt x="1888409" y="0"/>
                  <a:pt x="1976919" y="88510"/>
                  <a:pt x="1976919" y="197692"/>
                </a:cubicBezTo>
                <a:lnTo>
                  <a:pt x="1976919" y="5329629"/>
                </a:lnTo>
                <a:cubicBezTo>
                  <a:pt x="1976919" y="5438811"/>
                  <a:pt x="1888409" y="5527321"/>
                  <a:pt x="1779227" y="5527321"/>
                </a:cubicBezTo>
                <a:lnTo>
                  <a:pt x="197692" y="5527321"/>
                </a:lnTo>
                <a:cubicBezTo>
                  <a:pt x="88510" y="5527321"/>
                  <a:pt x="0" y="5438811"/>
                  <a:pt x="0" y="5329629"/>
                </a:cubicBezTo>
                <a:lnTo>
                  <a:pt x="0" y="197692"/>
                </a:lnTo>
                <a:close/>
              </a:path>
            </a:pathLst>
          </a:custGeom>
          <a:ln>
            <a:solidFill>
              <a:srgbClr val="C00000"/>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247650" tIns="247650" rIns="247650" bIns="4116775" numCol="1" spcCol="1270" anchor="ctr" anchorCtr="0">
            <a:noAutofit/>
          </a:bodyPr>
          <a:lstStyle/>
          <a:p>
            <a:pPr algn="ctr" defTabSz="2889250">
              <a:lnSpc>
                <a:spcPct val="90000"/>
              </a:lnSpc>
              <a:spcAft>
                <a:spcPct val="35000"/>
              </a:spcAft>
            </a:pPr>
            <a:r>
              <a:rPr lang="es-ES" sz="6500" b="1" dirty="0"/>
              <a:t>L</a:t>
            </a:r>
          </a:p>
        </p:txBody>
      </p:sp>
      <p:sp>
        <p:nvSpPr>
          <p:cNvPr id="11" name="Forma libre 10"/>
          <p:cNvSpPr/>
          <p:nvPr/>
        </p:nvSpPr>
        <p:spPr>
          <a:xfrm>
            <a:off x="8490422" y="1254034"/>
            <a:ext cx="1670400" cy="5404821"/>
          </a:xfrm>
          <a:custGeom>
            <a:avLst/>
            <a:gdLst>
              <a:gd name="connsiteX0" fmla="*/ 0 w 1976919"/>
              <a:gd name="connsiteY0" fmla="*/ 197692 h 5527321"/>
              <a:gd name="connsiteX1" fmla="*/ 197692 w 1976919"/>
              <a:gd name="connsiteY1" fmla="*/ 0 h 5527321"/>
              <a:gd name="connsiteX2" fmla="*/ 1779227 w 1976919"/>
              <a:gd name="connsiteY2" fmla="*/ 0 h 5527321"/>
              <a:gd name="connsiteX3" fmla="*/ 1976919 w 1976919"/>
              <a:gd name="connsiteY3" fmla="*/ 197692 h 5527321"/>
              <a:gd name="connsiteX4" fmla="*/ 1976919 w 1976919"/>
              <a:gd name="connsiteY4" fmla="*/ 5329629 h 5527321"/>
              <a:gd name="connsiteX5" fmla="*/ 1779227 w 1976919"/>
              <a:gd name="connsiteY5" fmla="*/ 5527321 h 5527321"/>
              <a:gd name="connsiteX6" fmla="*/ 197692 w 1976919"/>
              <a:gd name="connsiteY6" fmla="*/ 5527321 h 5527321"/>
              <a:gd name="connsiteX7" fmla="*/ 0 w 1976919"/>
              <a:gd name="connsiteY7" fmla="*/ 5329629 h 5527321"/>
              <a:gd name="connsiteX8" fmla="*/ 0 w 1976919"/>
              <a:gd name="connsiteY8" fmla="*/ 197692 h 552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6919" h="5527321">
                <a:moveTo>
                  <a:pt x="0" y="197692"/>
                </a:moveTo>
                <a:cubicBezTo>
                  <a:pt x="0" y="88510"/>
                  <a:pt x="88510" y="0"/>
                  <a:pt x="197692" y="0"/>
                </a:cubicBezTo>
                <a:lnTo>
                  <a:pt x="1779227" y="0"/>
                </a:lnTo>
                <a:cubicBezTo>
                  <a:pt x="1888409" y="0"/>
                  <a:pt x="1976919" y="88510"/>
                  <a:pt x="1976919" y="197692"/>
                </a:cubicBezTo>
                <a:lnTo>
                  <a:pt x="1976919" y="5329629"/>
                </a:lnTo>
                <a:cubicBezTo>
                  <a:pt x="1976919" y="5438811"/>
                  <a:pt x="1888409" y="5527321"/>
                  <a:pt x="1779227" y="5527321"/>
                </a:cubicBezTo>
                <a:lnTo>
                  <a:pt x="197692" y="5527321"/>
                </a:lnTo>
                <a:cubicBezTo>
                  <a:pt x="88510" y="5527321"/>
                  <a:pt x="0" y="5438811"/>
                  <a:pt x="0" y="5329629"/>
                </a:cubicBezTo>
                <a:lnTo>
                  <a:pt x="0" y="197692"/>
                </a:lnTo>
                <a:close/>
              </a:path>
            </a:pathLst>
          </a:custGeom>
          <a:ln>
            <a:solidFill>
              <a:srgbClr val="C00000"/>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247650" tIns="247650" rIns="247650" bIns="4116775" numCol="1" spcCol="1270" anchor="ctr" anchorCtr="0">
            <a:noAutofit/>
          </a:bodyPr>
          <a:lstStyle/>
          <a:p>
            <a:pPr lvl="0" algn="ctr" defTabSz="2889250">
              <a:lnSpc>
                <a:spcPct val="90000"/>
              </a:lnSpc>
              <a:spcBef>
                <a:spcPct val="0"/>
              </a:spcBef>
              <a:spcAft>
                <a:spcPct val="35000"/>
              </a:spcAft>
            </a:pPr>
            <a:r>
              <a:rPr lang="es-ES" sz="6500" b="1" kern="1200" dirty="0" smtClean="0"/>
              <a:t>I</a:t>
            </a:r>
            <a:endParaRPr lang="es-ES" sz="6500" b="1" kern="1200" dirty="0"/>
          </a:p>
        </p:txBody>
      </p:sp>
      <p:sp>
        <p:nvSpPr>
          <p:cNvPr id="13" name="Forma libre 12"/>
          <p:cNvSpPr/>
          <p:nvPr/>
        </p:nvSpPr>
        <p:spPr>
          <a:xfrm>
            <a:off x="10473490" y="1254034"/>
            <a:ext cx="1674415" cy="5404821"/>
          </a:xfrm>
          <a:custGeom>
            <a:avLst/>
            <a:gdLst>
              <a:gd name="connsiteX0" fmla="*/ 0 w 1976919"/>
              <a:gd name="connsiteY0" fmla="*/ 197692 h 5527321"/>
              <a:gd name="connsiteX1" fmla="*/ 197692 w 1976919"/>
              <a:gd name="connsiteY1" fmla="*/ 0 h 5527321"/>
              <a:gd name="connsiteX2" fmla="*/ 1779227 w 1976919"/>
              <a:gd name="connsiteY2" fmla="*/ 0 h 5527321"/>
              <a:gd name="connsiteX3" fmla="*/ 1976919 w 1976919"/>
              <a:gd name="connsiteY3" fmla="*/ 197692 h 5527321"/>
              <a:gd name="connsiteX4" fmla="*/ 1976919 w 1976919"/>
              <a:gd name="connsiteY4" fmla="*/ 5329629 h 5527321"/>
              <a:gd name="connsiteX5" fmla="*/ 1779227 w 1976919"/>
              <a:gd name="connsiteY5" fmla="*/ 5527321 h 5527321"/>
              <a:gd name="connsiteX6" fmla="*/ 197692 w 1976919"/>
              <a:gd name="connsiteY6" fmla="*/ 5527321 h 5527321"/>
              <a:gd name="connsiteX7" fmla="*/ 0 w 1976919"/>
              <a:gd name="connsiteY7" fmla="*/ 5329629 h 5527321"/>
              <a:gd name="connsiteX8" fmla="*/ 0 w 1976919"/>
              <a:gd name="connsiteY8" fmla="*/ 197692 h 552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6919" h="5527321">
                <a:moveTo>
                  <a:pt x="0" y="197692"/>
                </a:moveTo>
                <a:cubicBezTo>
                  <a:pt x="0" y="88510"/>
                  <a:pt x="88510" y="0"/>
                  <a:pt x="197692" y="0"/>
                </a:cubicBezTo>
                <a:lnTo>
                  <a:pt x="1779227" y="0"/>
                </a:lnTo>
                <a:cubicBezTo>
                  <a:pt x="1888409" y="0"/>
                  <a:pt x="1976919" y="88510"/>
                  <a:pt x="1976919" y="197692"/>
                </a:cubicBezTo>
                <a:lnTo>
                  <a:pt x="1976919" y="5329629"/>
                </a:lnTo>
                <a:cubicBezTo>
                  <a:pt x="1976919" y="5438811"/>
                  <a:pt x="1888409" y="5527321"/>
                  <a:pt x="1779227" y="5527321"/>
                </a:cubicBezTo>
                <a:lnTo>
                  <a:pt x="197692" y="5527321"/>
                </a:lnTo>
                <a:cubicBezTo>
                  <a:pt x="88510" y="5527321"/>
                  <a:pt x="0" y="5438811"/>
                  <a:pt x="0" y="5329629"/>
                </a:cubicBezTo>
                <a:lnTo>
                  <a:pt x="0" y="197692"/>
                </a:lnTo>
                <a:close/>
              </a:path>
            </a:pathLst>
          </a:custGeom>
          <a:ln>
            <a:solidFill>
              <a:srgbClr val="C00000"/>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247650" tIns="247650" rIns="247650" bIns="4116775" numCol="1" spcCol="1270" anchor="ctr" anchorCtr="0">
            <a:noAutofit/>
          </a:bodyPr>
          <a:lstStyle/>
          <a:p>
            <a:pPr lvl="0" algn="ctr" defTabSz="2889250">
              <a:lnSpc>
                <a:spcPct val="90000"/>
              </a:lnSpc>
              <a:spcBef>
                <a:spcPct val="0"/>
              </a:spcBef>
              <a:spcAft>
                <a:spcPct val="35000"/>
              </a:spcAft>
            </a:pPr>
            <a:r>
              <a:rPr lang="es-ES" sz="6500" b="1" kern="1200" dirty="0" smtClean="0"/>
              <a:t>D</a:t>
            </a:r>
            <a:endParaRPr lang="es-ES" sz="6500" b="1" kern="1200" dirty="0"/>
          </a:p>
        </p:txBody>
      </p:sp>
      <p:sp>
        <p:nvSpPr>
          <p:cNvPr id="15" name="Forma libre 14"/>
          <p:cNvSpPr/>
          <p:nvPr/>
        </p:nvSpPr>
        <p:spPr>
          <a:xfrm>
            <a:off x="524486" y="1254034"/>
            <a:ext cx="1670400" cy="5404821"/>
          </a:xfrm>
          <a:custGeom>
            <a:avLst/>
            <a:gdLst>
              <a:gd name="connsiteX0" fmla="*/ 0 w 1976919"/>
              <a:gd name="connsiteY0" fmla="*/ 197692 h 5527321"/>
              <a:gd name="connsiteX1" fmla="*/ 197692 w 1976919"/>
              <a:gd name="connsiteY1" fmla="*/ 0 h 5527321"/>
              <a:gd name="connsiteX2" fmla="*/ 1779227 w 1976919"/>
              <a:gd name="connsiteY2" fmla="*/ 0 h 5527321"/>
              <a:gd name="connsiteX3" fmla="*/ 1976919 w 1976919"/>
              <a:gd name="connsiteY3" fmla="*/ 197692 h 5527321"/>
              <a:gd name="connsiteX4" fmla="*/ 1976919 w 1976919"/>
              <a:gd name="connsiteY4" fmla="*/ 5329629 h 5527321"/>
              <a:gd name="connsiteX5" fmla="*/ 1779227 w 1976919"/>
              <a:gd name="connsiteY5" fmla="*/ 5527321 h 5527321"/>
              <a:gd name="connsiteX6" fmla="*/ 197692 w 1976919"/>
              <a:gd name="connsiteY6" fmla="*/ 5527321 h 5527321"/>
              <a:gd name="connsiteX7" fmla="*/ 0 w 1976919"/>
              <a:gd name="connsiteY7" fmla="*/ 5329629 h 5527321"/>
              <a:gd name="connsiteX8" fmla="*/ 0 w 1976919"/>
              <a:gd name="connsiteY8" fmla="*/ 197692 h 552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6919" h="5527321">
                <a:moveTo>
                  <a:pt x="0" y="197692"/>
                </a:moveTo>
                <a:cubicBezTo>
                  <a:pt x="0" y="88510"/>
                  <a:pt x="88510" y="0"/>
                  <a:pt x="197692" y="0"/>
                </a:cubicBezTo>
                <a:lnTo>
                  <a:pt x="1779227" y="0"/>
                </a:lnTo>
                <a:cubicBezTo>
                  <a:pt x="1888409" y="0"/>
                  <a:pt x="1976919" y="88510"/>
                  <a:pt x="1976919" y="197692"/>
                </a:cubicBezTo>
                <a:lnTo>
                  <a:pt x="1976919" y="5329629"/>
                </a:lnTo>
                <a:cubicBezTo>
                  <a:pt x="1976919" y="5438811"/>
                  <a:pt x="1888409" y="5527321"/>
                  <a:pt x="1779227" y="5527321"/>
                </a:cubicBezTo>
                <a:lnTo>
                  <a:pt x="197692" y="5527321"/>
                </a:lnTo>
                <a:cubicBezTo>
                  <a:pt x="88510" y="5527321"/>
                  <a:pt x="0" y="5438811"/>
                  <a:pt x="0" y="5329629"/>
                </a:cubicBezTo>
                <a:lnTo>
                  <a:pt x="0" y="197692"/>
                </a:lnTo>
                <a:close/>
              </a:path>
            </a:pathLst>
          </a:custGeom>
          <a:ln>
            <a:solidFill>
              <a:srgbClr val="C00000"/>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247650" tIns="247650" rIns="247650" bIns="4116775" numCol="1" spcCol="1270" anchor="ctr" anchorCtr="0">
            <a:noAutofit/>
          </a:bodyPr>
          <a:lstStyle/>
          <a:p>
            <a:pPr lvl="0" algn="ctr" defTabSz="2889250">
              <a:lnSpc>
                <a:spcPct val="90000"/>
              </a:lnSpc>
              <a:spcBef>
                <a:spcPct val="0"/>
              </a:spcBef>
              <a:spcAft>
                <a:spcPct val="35000"/>
              </a:spcAft>
            </a:pPr>
            <a:r>
              <a:rPr lang="es-ES" sz="6500" b="1" dirty="0"/>
              <a:t>R</a:t>
            </a:r>
            <a:endParaRPr lang="es-ES" sz="6500" b="1" kern="1200" dirty="0"/>
          </a:p>
        </p:txBody>
      </p:sp>
      <p:sp>
        <p:nvSpPr>
          <p:cNvPr id="16" name="Forma libre 15"/>
          <p:cNvSpPr/>
          <p:nvPr/>
        </p:nvSpPr>
        <p:spPr>
          <a:xfrm>
            <a:off x="6659411" y="2897962"/>
            <a:ext cx="1352300" cy="3484527"/>
          </a:xfrm>
          <a:custGeom>
            <a:avLst/>
            <a:gdLst>
              <a:gd name="connsiteX0" fmla="*/ 0 w 1581535"/>
              <a:gd name="connsiteY0" fmla="*/ 158154 h 3592759"/>
              <a:gd name="connsiteX1" fmla="*/ 158154 w 1581535"/>
              <a:gd name="connsiteY1" fmla="*/ 0 h 3592759"/>
              <a:gd name="connsiteX2" fmla="*/ 1423382 w 1581535"/>
              <a:gd name="connsiteY2" fmla="*/ 0 h 3592759"/>
              <a:gd name="connsiteX3" fmla="*/ 1581536 w 1581535"/>
              <a:gd name="connsiteY3" fmla="*/ 158154 h 3592759"/>
              <a:gd name="connsiteX4" fmla="*/ 1581535 w 1581535"/>
              <a:gd name="connsiteY4" fmla="*/ 3434606 h 3592759"/>
              <a:gd name="connsiteX5" fmla="*/ 1423381 w 1581535"/>
              <a:gd name="connsiteY5" fmla="*/ 3592760 h 3592759"/>
              <a:gd name="connsiteX6" fmla="*/ 158154 w 1581535"/>
              <a:gd name="connsiteY6" fmla="*/ 3592759 h 3592759"/>
              <a:gd name="connsiteX7" fmla="*/ 0 w 1581535"/>
              <a:gd name="connsiteY7" fmla="*/ 3434605 h 3592759"/>
              <a:gd name="connsiteX8" fmla="*/ 0 w 1581535"/>
              <a:gd name="connsiteY8" fmla="*/ 158154 h 359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1535" h="3592759">
                <a:moveTo>
                  <a:pt x="0" y="158154"/>
                </a:moveTo>
                <a:cubicBezTo>
                  <a:pt x="0" y="70808"/>
                  <a:pt x="70808" y="0"/>
                  <a:pt x="158154" y="0"/>
                </a:cubicBezTo>
                <a:lnTo>
                  <a:pt x="1423382" y="0"/>
                </a:lnTo>
                <a:cubicBezTo>
                  <a:pt x="1510728" y="0"/>
                  <a:pt x="1581536" y="70808"/>
                  <a:pt x="1581536" y="158154"/>
                </a:cubicBezTo>
                <a:cubicBezTo>
                  <a:pt x="1581536" y="1250305"/>
                  <a:pt x="1581535" y="2342455"/>
                  <a:pt x="1581535" y="3434606"/>
                </a:cubicBezTo>
                <a:cubicBezTo>
                  <a:pt x="1581535" y="3521952"/>
                  <a:pt x="1510727" y="3592760"/>
                  <a:pt x="1423381" y="3592760"/>
                </a:cubicBezTo>
                <a:lnTo>
                  <a:pt x="158154" y="3592759"/>
                </a:lnTo>
                <a:cubicBezTo>
                  <a:pt x="70808" y="3592759"/>
                  <a:pt x="0" y="3521951"/>
                  <a:pt x="0" y="3434605"/>
                </a:cubicBezTo>
                <a:lnTo>
                  <a:pt x="0" y="15815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962" tIns="76802" rIns="86962" bIns="76802" numCol="1" spcCol="1270" anchor="ctr" anchorCtr="0">
            <a:noAutofit/>
          </a:bodyPr>
          <a:lstStyle/>
          <a:p>
            <a:pPr lvl="0" algn="ctr" defTabSz="711200">
              <a:lnSpc>
                <a:spcPct val="90000"/>
              </a:lnSpc>
              <a:spcBef>
                <a:spcPct val="0"/>
              </a:spcBef>
              <a:spcAft>
                <a:spcPct val="35000"/>
              </a:spcAft>
            </a:pPr>
            <a:endParaRPr lang="es-ES" sz="1600" b="1" kern="1200" dirty="0" smtClean="0"/>
          </a:p>
          <a:p>
            <a:pPr lvl="0" algn="ctr" defTabSz="711200">
              <a:lnSpc>
                <a:spcPct val="90000"/>
              </a:lnSpc>
              <a:spcBef>
                <a:spcPct val="0"/>
              </a:spcBef>
              <a:spcAft>
                <a:spcPct val="35000"/>
              </a:spcAft>
            </a:pPr>
            <a:r>
              <a:rPr lang="es-ES" sz="1600" b="1" kern="1200" dirty="0" err="1" smtClean="0"/>
              <a:t>Liskov</a:t>
            </a:r>
            <a:r>
              <a:rPr lang="es-ES" sz="1600" b="1" kern="1200" dirty="0" smtClean="0"/>
              <a:t> </a:t>
            </a:r>
            <a:r>
              <a:rPr lang="es-ES" sz="1600" b="1" kern="1200" dirty="0" err="1" smtClean="0"/>
              <a:t>substitution</a:t>
            </a:r>
            <a:r>
              <a:rPr lang="es-ES" sz="1600" b="1" kern="1200" dirty="0" smtClean="0"/>
              <a:t> </a:t>
            </a:r>
            <a:r>
              <a:rPr lang="es-ES" sz="1600" b="1" kern="1200" dirty="0" err="1" smtClean="0"/>
              <a:t>principle</a:t>
            </a:r>
            <a:endParaRPr lang="es-ES" sz="1600" b="1" kern="1200" dirty="0" smtClean="0"/>
          </a:p>
          <a:p>
            <a:pPr lvl="0" algn="ctr" defTabSz="711200">
              <a:lnSpc>
                <a:spcPct val="90000"/>
              </a:lnSpc>
              <a:spcBef>
                <a:spcPct val="0"/>
              </a:spcBef>
              <a:spcAft>
                <a:spcPct val="35000"/>
              </a:spcAft>
            </a:pPr>
            <a:endParaRPr lang="es-ES" sz="1600" b="1" dirty="0"/>
          </a:p>
          <a:p>
            <a:pPr lvl="0" algn="ctr" defTabSz="711200">
              <a:lnSpc>
                <a:spcPct val="90000"/>
              </a:lnSpc>
              <a:spcBef>
                <a:spcPct val="0"/>
              </a:spcBef>
              <a:spcAft>
                <a:spcPct val="35000"/>
              </a:spcAft>
            </a:pPr>
            <a:endParaRPr lang="es-ES" sz="1600" b="1" kern="1200" dirty="0" smtClean="0"/>
          </a:p>
          <a:p>
            <a:pPr lvl="0" algn="ctr"/>
            <a:r>
              <a:rPr lang="es-ES" sz="1400" b="1" dirty="0"/>
              <a:t>Diseño por contrato</a:t>
            </a:r>
          </a:p>
          <a:p>
            <a:pPr lvl="0" algn="ctr"/>
            <a:r>
              <a:rPr lang="es-ES" sz="1400" b="1" dirty="0"/>
              <a:t>Derivado == clase base</a:t>
            </a:r>
          </a:p>
          <a:p>
            <a:pPr lvl="0" algn="ctr" defTabSz="711200">
              <a:lnSpc>
                <a:spcPct val="90000"/>
              </a:lnSpc>
              <a:spcBef>
                <a:spcPct val="0"/>
              </a:spcBef>
              <a:spcAft>
                <a:spcPct val="35000"/>
              </a:spcAft>
            </a:pPr>
            <a:endParaRPr lang="es-ES" sz="1600" b="1" kern="1200" dirty="0"/>
          </a:p>
        </p:txBody>
      </p:sp>
      <p:sp>
        <p:nvSpPr>
          <p:cNvPr id="17" name="Forma libre 16"/>
          <p:cNvSpPr/>
          <p:nvPr/>
        </p:nvSpPr>
        <p:spPr>
          <a:xfrm>
            <a:off x="8658931" y="2897962"/>
            <a:ext cx="1352300" cy="3484527"/>
          </a:xfrm>
          <a:custGeom>
            <a:avLst/>
            <a:gdLst>
              <a:gd name="connsiteX0" fmla="*/ 0 w 1581535"/>
              <a:gd name="connsiteY0" fmla="*/ 158154 h 3592759"/>
              <a:gd name="connsiteX1" fmla="*/ 158154 w 1581535"/>
              <a:gd name="connsiteY1" fmla="*/ 0 h 3592759"/>
              <a:gd name="connsiteX2" fmla="*/ 1423382 w 1581535"/>
              <a:gd name="connsiteY2" fmla="*/ 0 h 3592759"/>
              <a:gd name="connsiteX3" fmla="*/ 1581536 w 1581535"/>
              <a:gd name="connsiteY3" fmla="*/ 158154 h 3592759"/>
              <a:gd name="connsiteX4" fmla="*/ 1581535 w 1581535"/>
              <a:gd name="connsiteY4" fmla="*/ 3434606 h 3592759"/>
              <a:gd name="connsiteX5" fmla="*/ 1423381 w 1581535"/>
              <a:gd name="connsiteY5" fmla="*/ 3592760 h 3592759"/>
              <a:gd name="connsiteX6" fmla="*/ 158154 w 1581535"/>
              <a:gd name="connsiteY6" fmla="*/ 3592759 h 3592759"/>
              <a:gd name="connsiteX7" fmla="*/ 0 w 1581535"/>
              <a:gd name="connsiteY7" fmla="*/ 3434605 h 3592759"/>
              <a:gd name="connsiteX8" fmla="*/ 0 w 1581535"/>
              <a:gd name="connsiteY8" fmla="*/ 158154 h 359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1535" h="3592759">
                <a:moveTo>
                  <a:pt x="0" y="158154"/>
                </a:moveTo>
                <a:cubicBezTo>
                  <a:pt x="0" y="70808"/>
                  <a:pt x="70808" y="0"/>
                  <a:pt x="158154" y="0"/>
                </a:cubicBezTo>
                <a:lnTo>
                  <a:pt x="1423382" y="0"/>
                </a:lnTo>
                <a:cubicBezTo>
                  <a:pt x="1510728" y="0"/>
                  <a:pt x="1581536" y="70808"/>
                  <a:pt x="1581536" y="158154"/>
                </a:cubicBezTo>
                <a:cubicBezTo>
                  <a:pt x="1581536" y="1250305"/>
                  <a:pt x="1581535" y="2342455"/>
                  <a:pt x="1581535" y="3434606"/>
                </a:cubicBezTo>
                <a:cubicBezTo>
                  <a:pt x="1581535" y="3521952"/>
                  <a:pt x="1510727" y="3592760"/>
                  <a:pt x="1423381" y="3592760"/>
                </a:cubicBezTo>
                <a:lnTo>
                  <a:pt x="158154" y="3592759"/>
                </a:lnTo>
                <a:cubicBezTo>
                  <a:pt x="70808" y="3592759"/>
                  <a:pt x="0" y="3521951"/>
                  <a:pt x="0" y="3434605"/>
                </a:cubicBezTo>
                <a:lnTo>
                  <a:pt x="0" y="15815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962" tIns="76802" rIns="86962" bIns="76802" numCol="1" spcCol="1270" anchor="ctr" anchorCtr="0">
            <a:noAutofit/>
          </a:bodyPr>
          <a:lstStyle/>
          <a:p>
            <a:pPr lvl="0" algn="ctr" defTabSz="711200">
              <a:lnSpc>
                <a:spcPct val="90000"/>
              </a:lnSpc>
              <a:spcBef>
                <a:spcPct val="0"/>
              </a:spcBef>
              <a:spcAft>
                <a:spcPct val="35000"/>
              </a:spcAft>
            </a:pPr>
            <a:endParaRPr lang="es-ES" sz="1600" b="1" kern="1200" dirty="0" smtClean="0"/>
          </a:p>
          <a:p>
            <a:pPr lvl="0" algn="ctr" defTabSz="711200">
              <a:lnSpc>
                <a:spcPct val="90000"/>
              </a:lnSpc>
              <a:spcBef>
                <a:spcPct val="0"/>
              </a:spcBef>
              <a:spcAft>
                <a:spcPct val="35000"/>
              </a:spcAft>
            </a:pPr>
            <a:r>
              <a:rPr lang="es-ES" sz="1600" b="1" kern="1200" dirty="0" smtClean="0"/>
              <a:t>Interface </a:t>
            </a:r>
            <a:r>
              <a:rPr lang="es-ES" sz="1600" b="1" kern="1200" dirty="0" err="1" smtClean="0"/>
              <a:t>segregation</a:t>
            </a:r>
            <a:r>
              <a:rPr lang="es-ES" sz="1600" b="1" kern="1200" dirty="0" smtClean="0"/>
              <a:t> </a:t>
            </a:r>
            <a:r>
              <a:rPr lang="es-ES" sz="1600" b="1" kern="1200" dirty="0" err="1" smtClean="0"/>
              <a:t>principle</a:t>
            </a:r>
            <a:endParaRPr lang="es-ES" sz="1600" b="1" kern="1200" dirty="0" smtClean="0"/>
          </a:p>
          <a:p>
            <a:pPr lvl="0" algn="ctr" defTabSz="711200">
              <a:lnSpc>
                <a:spcPct val="90000"/>
              </a:lnSpc>
              <a:spcBef>
                <a:spcPct val="0"/>
              </a:spcBef>
              <a:spcAft>
                <a:spcPct val="35000"/>
              </a:spcAft>
            </a:pPr>
            <a:endParaRPr lang="es-ES" sz="1600" b="1" dirty="0"/>
          </a:p>
          <a:p>
            <a:pPr lvl="0" algn="ctr" defTabSz="711200">
              <a:lnSpc>
                <a:spcPct val="90000"/>
              </a:lnSpc>
              <a:spcBef>
                <a:spcPct val="0"/>
              </a:spcBef>
              <a:spcAft>
                <a:spcPct val="35000"/>
              </a:spcAft>
            </a:pPr>
            <a:endParaRPr lang="es-ES" sz="1600" b="1" kern="1200" dirty="0" smtClean="0"/>
          </a:p>
          <a:p>
            <a:pPr algn="ctr" defTabSz="711200">
              <a:lnSpc>
                <a:spcPct val="90000"/>
              </a:lnSpc>
              <a:spcAft>
                <a:spcPct val="35000"/>
              </a:spcAft>
            </a:pPr>
            <a:endParaRPr lang="es-ES" sz="1400" b="1" dirty="0" smtClean="0"/>
          </a:p>
          <a:p>
            <a:pPr algn="ctr" defTabSz="711200">
              <a:lnSpc>
                <a:spcPct val="90000"/>
              </a:lnSpc>
              <a:spcAft>
                <a:spcPct val="35000"/>
              </a:spcAft>
            </a:pPr>
            <a:r>
              <a:rPr lang="es-ES" sz="1400" b="1" dirty="0" smtClean="0"/>
              <a:t>Interfaces </a:t>
            </a:r>
            <a:r>
              <a:rPr lang="es-ES" sz="1400" b="1" dirty="0"/>
              <a:t>específicos a una finalidad</a:t>
            </a:r>
          </a:p>
          <a:p>
            <a:pPr lvl="0" algn="ctr" defTabSz="711200">
              <a:lnSpc>
                <a:spcPct val="90000"/>
              </a:lnSpc>
              <a:spcBef>
                <a:spcPct val="0"/>
              </a:spcBef>
              <a:spcAft>
                <a:spcPct val="35000"/>
              </a:spcAft>
            </a:pPr>
            <a:endParaRPr lang="es-ES" sz="1600" b="1" kern="1200" dirty="0"/>
          </a:p>
        </p:txBody>
      </p:sp>
      <p:sp>
        <p:nvSpPr>
          <p:cNvPr id="18" name="Forma libre 17"/>
          <p:cNvSpPr/>
          <p:nvPr/>
        </p:nvSpPr>
        <p:spPr>
          <a:xfrm>
            <a:off x="10647738" y="2897962"/>
            <a:ext cx="1352300" cy="3484527"/>
          </a:xfrm>
          <a:custGeom>
            <a:avLst/>
            <a:gdLst>
              <a:gd name="connsiteX0" fmla="*/ 0 w 1581535"/>
              <a:gd name="connsiteY0" fmla="*/ 158154 h 3592759"/>
              <a:gd name="connsiteX1" fmla="*/ 158154 w 1581535"/>
              <a:gd name="connsiteY1" fmla="*/ 0 h 3592759"/>
              <a:gd name="connsiteX2" fmla="*/ 1423382 w 1581535"/>
              <a:gd name="connsiteY2" fmla="*/ 0 h 3592759"/>
              <a:gd name="connsiteX3" fmla="*/ 1581536 w 1581535"/>
              <a:gd name="connsiteY3" fmla="*/ 158154 h 3592759"/>
              <a:gd name="connsiteX4" fmla="*/ 1581535 w 1581535"/>
              <a:gd name="connsiteY4" fmla="*/ 3434606 h 3592759"/>
              <a:gd name="connsiteX5" fmla="*/ 1423381 w 1581535"/>
              <a:gd name="connsiteY5" fmla="*/ 3592760 h 3592759"/>
              <a:gd name="connsiteX6" fmla="*/ 158154 w 1581535"/>
              <a:gd name="connsiteY6" fmla="*/ 3592759 h 3592759"/>
              <a:gd name="connsiteX7" fmla="*/ 0 w 1581535"/>
              <a:gd name="connsiteY7" fmla="*/ 3434605 h 3592759"/>
              <a:gd name="connsiteX8" fmla="*/ 0 w 1581535"/>
              <a:gd name="connsiteY8" fmla="*/ 158154 h 359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1535" h="3592759">
                <a:moveTo>
                  <a:pt x="0" y="158154"/>
                </a:moveTo>
                <a:cubicBezTo>
                  <a:pt x="0" y="70808"/>
                  <a:pt x="70808" y="0"/>
                  <a:pt x="158154" y="0"/>
                </a:cubicBezTo>
                <a:lnTo>
                  <a:pt x="1423382" y="0"/>
                </a:lnTo>
                <a:cubicBezTo>
                  <a:pt x="1510728" y="0"/>
                  <a:pt x="1581536" y="70808"/>
                  <a:pt x="1581536" y="158154"/>
                </a:cubicBezTo>
                <a:cubicBezTo>
                  <a:pt x="1581536" y="1250305"/>
                  <a:pt x="1581535" y="2342455"/>
                  <a:pt x="1581535" y="3434606"/>
                </a:cubicBezTo>
                <a:cubicBezTo>
                  <a:pt x="1581535" y="3521952"/>
                  <a:pt x="1510727" y="3592760"/>
                  <a:pt x="1423381" y="3592760"/>
                </a:cubicBezTo>
                <a:lnTo>
                  <a:pt x="158154" y="3592759"/>
                </a:lnTo>
                <a:cubicBezTo>
                  <a:pt x="70808" y="3592759"/>
                  <a:pt x="0" y="3521951"/>
                  <a:pt x="0" y="3434605"/>
                </a:cubicBezTo>
                <a:lnTo>
                  <a:pt x="0" y="15815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962" tIns="76802" rIns="86962" bIns="76802" numCol="1" spcCol="1270" anchor="ctr" anchorCtr="0">
            <a:noAutofit/>
          </a:bodyPr>
          <a:lstStyle/>
          <a:p>
            <a:pPr lvl="0" algn="ctr" defTabSz="711200">
              <a:lnSpc>
                <a:spcPct val="90000"/>
              </a:lnSpc>
              <a:spcBef>
                <a:spcPct val="0"/>
              </a:spcBef>
              <a:spcAft>
                <a:spcPct val="35000"/>
              </a:spcAft>
            </a:pPr>
            <a:endParaRPr lang="es-ES" sz="1600" b="1" kern="1200" dirty="0" smtClean="0"/>
          </a:p>
          <a:p>
            <a:pPr lvl="0" algn="ctr" defTabSz="711200">
              <a:lnSpc>
                <a:spcPct val="90000"/>
              </a:lnSpc>
              <a:spcBef>
                <a:spcPct val="0"/>
              </a:spcBef>
              <a:spcAft>
                <a:spcPct val="35000"/>
              </a:spcAft>
            </a:pPr>
            <a:endParaRPr lang="es-ES" sz="1600" b="1" dirty="0"/>
          </a:p>
          <a:p>
            <a:pPr lvl="0" algn="ctr" defTabSz="711200">
              <a:lnSpc>
                <a:spcPct val="90000"/>
              </a:lnSpc>
              <a:spcBef>
                <a:spcPct val="0"/>
              </a:spcBef>
              <a:spcAft>
                <a:spcPct val="35000"/>
              </a:spcAft>
            </a:pPr>
            <a:r>
              <a:rPr lang="es-ES" sz="1590" b="1" kern="1200" dirty="0" err="1" smtClean="0"/>
              <a:t>Dependency</a:t>
            </a:r>
            <a:r>
              <a:rPr lang="es-ES" sz="1590" b="1" kern="1200" dirty="0" smtClean="0"/>
              <a:t> </a:t>
            </a:r>
            <a:r>
              <a:rPr lang="es-ES" sz="1590" b="1" kern="1200" dirty="0" err="1" smtClean="0"/>
              <a:t>inversion</a:t>
            </a:r>
            <a:r>
              <a:rPr lang="es-ES" sz="1590" b="1" kern="1200" dirty="0" smtClean="0"/>
              <a:t> </a:t>
            </a:r>
            <a:r>
              <a:rPr lang="es-ES" sz="1590" b="1" kern="1200" dirty="0" err="1" smtClean="0"/>
              <a:t>principle</a:t>
            </a:r>
            <a:endParaRPr lang="es-ES" sz="1590" b="1" kern="1200" dirty="0" smtClean="0"/>
          </a:p>
          <a:p>
            <a:pPr lvl="0" algn="ctr" defTabSz="711200">
              <a:lnSpc>
                <a:spcPct val="90000"/>
              </a:lnSpc>
              <a:spcBef>
                <a:spcPct val="0"/>
              </a:spcBef>
              <a:spcAft>
                <a:spcPct val="35000"/>
              </a:spcAft>
            </a:pPr>
            <a:endParaRPr lang="es-ES" sz="1600" b="1" dirty="0" smtClean="0"/>
          </a:p>
          <a:p>
            <a:pPr lvl="0" algn="ctr" defTabSz="711200">
              <a:lnSpc>
                <a:spcPct val="90000"/>
              </a:lnSpc>
              <a:spcBef>
                <a:spcPct val="0"/>
              </a:spcBef>
              <a:spcAft>
                <a:spcPct val="35000"/>
              </a:spcAft>
            </a:pPr>
            <a:endParaRPr lang="es-ES" sz="1600" b="1" dirty="0" smtClean="0"/>
          </a:p>
          <a:p>
            <a:pPr lvl="0" algn="ctr" defTabSz="711200">
              <a:lnSpc>
                <a:spcPct val="90000"/>
              </a:lnSpc>
              <a:spcBef>
                <a:spcPct val="0"/>
              </a:spcBef>
              <a:spcAft>
                <a:spcPct val="35000"/>
              </a:spcAft>
            </a:pPr>
            <a:endParaRPr lang="es-ES" sz="1600" b="1" dirty="0"/>
          </a:p>
          <a:p>
            <a:pPr algn="ctr" defTabSz="711200">
              <a:lnSpc>
                <a:spcPct val="90000"/>
              </a:lnSpc>
              <a:spcAft>
                <a:spcPct val="35000"/>
              </a:spcAft>
            </a:pPr>
            <a:r>
              <a:rPr lang="es-ES" sz="1400" b="1" dirty="0" smtClean="0"/>
              <a:t>Desacoplar </a:t>
            </a:r>
            <a:r>
              <a:rPr lang="es-ES" sz="1400" b="1" dirty="0"/>
              <a:t>las clases</a:t>
            </a:r>
          </a:p>
          <a:p>
            <a:pPr lvl="0" algn="ctr" defTabSz="711200">
              <a:lnSpc>
                <a:spcPct val="90000"/>
              </a:lnSpc>
              <a:spcBef>
                <a:spcPct val="0"/>
              </a:spcBef>
              <a:spcAft>
                <a:spcPct val="35000"/>
              </a:spcAft>
            </a:pPr>
            <a:endParaRPr lang="es-ES" sz="1600" b="1" kern="1200" dirty="0"/>
          </a:p>
        </p:txBody>
      </p:sp>
      <p:sp>
        <p:nvSpPr>
          <p:cNvPr id="19" name="Forma libre 18"/>
          <p:cNvSpPr/>
          <p:nvPr/>
        </p:nvSpPr>
        <p:spPr>
          <a:xfrm>
            <a:off x="683536" y="2897961"/>
            <a:ext cx="1352300" cy="3484527"/>
          </a:xfrm>
          <a:custGeom>
            <a:avLst/>
            <a:gdLst>
              <a:gd name="connsiteX0" fmla="*/ 0 w 1581535"/>
              <a:gd name="connsiteY0" fmla="*/ 158154 h 3592759"/>
              <a:gd name="connsiteX1" fmla="*/ 158154 w 1581535"/>
              <a:gd name="connsiteY1" fmla="*/ 0 h 3592759"/>
              <a:gd name="connsiteX2" fmla="*/ 1423382 w 1581535"/>
              <a:gd name="connsiteY2" fmla="*/ 0 h 3592759"/>
              <a:gd name="connsiteX3" fmla="*/ 1581536 w 1581535"/>
              <a:gd name="connsiteY3" fmla="*/ 158154 h 3592759"/>
              <a:gd name="connsiteX4" fmla="*/ 1581535 w 1581535"/>
              <a:gd name="connsiteY4" fmla="*/ 3434606 h 3592759"/>
              <a:gd name="connsiteX5" fmla="*/ 1423381 w 1581535"/>
              <a:gd name="connsiteY5" fmla="*/ 3592760 h 3592759"/>
              <a:gd name="connsiteX6" fmla="*/ 158154 w 1581535"/>
              <a:gd name="connsiteY6" fmla="*/ 3592759 h 3592759"/>
              <a:gd name="connsiteX7" fmla="*/ 0 w 1581535"/>
              <a:gd name="connsiteY7" fmla="*/ 3434605 h 3592759"/>
              <a:gd name="connsiteX8" fmla="*/ 0 w 1581535"/>
              <a:gd name="connsiteY8" fmla="*/ 158154 h 359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1535" h="3592759">
                <a:moveTo>
                  <a:pt x="0" y="158154"/>
                </a:moveTo>
                <a:cubicBezTo>
                  <a:pt x="0" y="70808"/>
                  <a:pt x="70808" y="0"/>
                  <a:pt x="158154" y="0"/>
                </a:cubicBezTo>
                <a:lnTo>
                  <a:pt x="1423382" y="0"/>
                </a:lnTo>
                <a:cubicBezTo>
                  <a:pt x="1510728" y="0"/>
                  <a:pt x="1581536" y="70808"/>
                  <a:pt x="1581536" y="158154"/>
                </a:cubicBezTo>
                <a:cubicBezTo>
                  <a:pt x="1581536" y="1250305"/>
                  <a:pt x="1581535" y="2342455"/>
                  <a:pt x="1581535" y="3434606"/>
                </a:cubicBezTo>
                <a:cubicBezTo>
                  <a:pt x="1581535" y="3521952"/>
                  <a:pt x="1510727" y="3592760"/>
                  <a:pt x="1423381" y="3592760"/>
                </a:cubicBezTo>
                <a:lnTo>
                  <a:pt x="158154" y="3592759"/>
                </a:lnTo>
                <a:cubicBezTo>
                  <a:pt x="70808" y="3592759"/>
                  <a:pt x="0" y="3521951"/>
                  <a:pt x="0" y="3434605"/>
                </a:cubicBezTo>
                <a:lnTo>
                  <a:pt x="0" y="15815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962" tIns="76802" rIns="86962" bIns="76802" numCol="1" spcCol="1270" anchor="ctr" anchorCtr="0">
            <a:noAutofit/>
          </a:bodyPr>
          <a:lstStyle/>
          <a:p>
            <a:pPr algn="ctr" defTabSz="711200">
              <a:lnSpc>
                <a:spcPct val="90000"/>
              </a:lnSpc>
              <a:spcAft>
                <a:spcPct val="35000"/>
              </a:spcAft>
            </a:pPr>
            <a:r>
              <a:rPr lang="es-ES" sz="1600" b="1" dirty="0"/>
              <a:t>Rafa </a:t>
            </a:r>
            <a:r>
              <a:rPr lang="es-ES" sz="1600" b="1" dirty="0" err="1"/>
              <a:t>solution</a:t>
            </a:r>
            <a:r>
              <a:rPr lang="es-ES" sz="1600" b="1" dirty="0"/>
              <a:t> </a:t>
            </a:r>
            <a:r>
              <a:rPr lang="es-ES" sz="1600" b="1" dirty="0" err="1" smtClean="0"/>
              <a:t>principle</a:t>
            </a:r>
            <a:endParaRPr lang="es-ES" sz="1600" b="1" dirty="0" smtClean="0"/>
          </a:p>
          <a:p>
            <a:pPr algn="ctr" defTabSz="711200">
              <a:lnSpc>
                <a:spcPct val="90000"/>
              </a:lnSpc>
              <a:spcAft>
                <a:spcPct val="35000"/>
              </a:spcAft>
            </a:pPr>
            <a:endParaRPr lang="es-ES" sz="1600" b="1" dirty="0"/>
          </a:p>
          <a:p>
            <a:pPr algn="ctr" defTabSz="711200">
              <a:lnSpc>
                <a:spcPct val="90000"/>
              </a:lnSpc>
              <a:spcAft>
                <a:spcPct val="35000"/>
              </a:spcAft>
            </a:pPr>
            <a:endParaRPr lang="es-ES" sz="1600" b="1" dirty="0" smtClean="0"/>
          </a:p>
          <a:p>
            <a:pPr algn="ctr" defTabSz="711200">
              <a:lnSpc>
                <a:spcPct val="90000"/>
              </a:lnSpc>
              <a:spcAft>
                <a:spcPct val="35000"/>
              </a:spcAft>
            </a:pPr>
            <a:endParaRPr lang="es-ES" sz="1600" b="1" dirty="0"/>
          </a:p>
          <a:p>
            <a:pPr lvl="0" algn="ctr"/>
            <a:r>
              <a:rPr lang="es-ES" sz="1400" b="1" dirty="0"/>
              <a:t>Prepara tu solución para poder aplicar SOLID</a:t>
            </a:r>
          </a:p>
        </p:txBody>
      </p:sp>
    </p:spTree>
    <p:extLst>
      <p:ext uri="{BB962C8B-B14F-4D97-AF65-F5344CB8AC3E}">
        <p14:creationId xmlns:p14="http://schemas.microsoft.com/office/powerpoint/2010/main" val="100799948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2"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2" nodeType="click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9" presetClass="emph" presetSubtype="0" grpId="3" nodeType="clickEffect">
                                  <p:stCondLst>
                                    <p:cond delay="0"/>
                                  </p:stCondLst>
                                  <p:childTnLst>
                                    <p:set>
                                      <p:cBhvr rctx="PPT">
                                        <p:cTn id="16" dur="indefinite"/>
                                        <p:tgtEl>
                                          <p:spTgt spid="15"/>
                                        </p:tgtEl>
                                        <p:attrNameLst>
                                          <p:attrName>style.opacity</p:attrName>
                                        </p:attrNameLst>
                                      </p:cBhvr>
                                      <p:to>
                                        <p:strVal val="0.5"/>
                                      </p:to>
                                    </p:set>
                                    <p:animEffect filter="image" prLst="opacity: 0.5">
                                      <p:cBhvr rctx="IE">
                                        <p:cTn id="17" dur="indefinite"/>
                                        <p:tgtEl>
                                          <p:spTgt spid="15"/>
                                        </p:tgtEl>
                                      </p:cBhvr>
                                    </p:animEffect>
                                  </p:childTnLst>
                                </p:cTn>
                              </p:par>
                              <p:par>
                                <p:cTn id="18" presetID="9" presetClass="emph" presetSubtype="0" grpId="3" nodeType="withEffect">
                                  <p:stCondLst>
                                    <p:cond delay="0"/>
                                  </p:stCondLst>
                                  <p:childTnLst>
                                    <p:set>
                                      <p:cBhvr rctx="PPT">
                                        <p:cTn id="19" dur="indefinite"/>
                                        <p:tgtEl>
                                          <p:spTgt spid="19"/>
                                        </p:tgtEl>
                                        <p:attrNameLst>
                                          <p:attrName>style.opacity</p:attrName>
                                        </p:attrNameLst>
                                      </p:cBhvr>
                                      <p:to>
                                        <p:strVal val="0.5"/>
                                      </p:to>
                                    </p:set>
                                    <p:animEffect filter="image" prLst="opacity: 0.5">
                                      <p:cBhvr rctx="IE">
                                        <p:cTn id="20" dur="indefinite"/>
                                        <p:tgtEl>
                                          <p:spTgt spid="19"/>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ppt_x"/>
                                          </p:val>
                                        </p:tav>
                                        <p:tav tm="100000">
                                          <p:val>
                                            <p:strVal val="#ppt_x"/>
                                          </p:val>
                                        </p:tav>
                                      </p:tavLst>
                                    </p:anim>
                                    <p:anim calcmode="lin" valueType="num">
                                      <p:cBhvr additive="base">
                                        <p:cTn id="2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9" presetClass="emph" presetSubtype="0" grpId="1" nodeType="clickEffect">
                                  <p:stCondLst>
                                    <p:cond delay="0"/>
                                  </p:stCondLst>
                                  <p:childTnLst>
                                    <p:set>
                                      <p:cBhvr rctx="PPT">
                                        <p:cTn id="32" dur="indefinite"/>
                                        <p:tgtEl>
                                          <p:spTgt spid="5"/>
                                        </p:tgtEl>
                                        <p:attrNameLst>
                                          <p:attrName>style.opacity</p:attrName>
                                        </p:attrNameLst>
                                      </p:cBhvr>
                                      <p:to>
                                        <p:strVal val="0.5"/>
                                      </p:to>
                                    </p:set>
                                    <p:animEffect filter="image" prLst="opacity: 0.5">
                                      <p:cBhvr rctx="IE">
                                        <p:cTn id="33" dur="indefinite"/>
                                        <p:tgtEl>
                                          <p:spTgt spid="5"/>
                                        </p:tgtEl>
                                      </p:cBhvr>
                                    </p:animEffect>
                                  </p:childTnLst>
                                </p:cTn>
                              </p:par>
                            </p:childTnLst>
                          </p:cTn>
                        </p:par>
                        <p:par>
                          <p:cTn id="34" fill="hold">
                            <p:stCondLst>
                              <p:cond delay="0"/>
                            </p:stCondLst>
                            <p:childTnLst>
                              <p:par>
                                <p:cTn id="35" presetID="9" presetClass="emph" presetSubtype="0" grpId="1" nodeType="afterEffect">
                                  <p:stCondLst>
                                    <p:cond delay="100"/>
                                  </p:stCondLst>
                                  <p:childTnLst>
                                    <p:set>
                                      <p:cBhvr rctx="PPT">
                                        <p:cTn id="36" dur="indefinite"/>
                                        <p:tgtEl>
                                          <p:spTgt spid="6"/>
                                        </p:tgtEl>
                                        <p:attrNameLst>
                                          <p:attrName>style.opacity</p:attrName>
                                        </p:attrNameLst>
                                      </p:cBhvr>
                                      <p:to>
                                        <p:strVal val="0.5"/>
                                      </p:to>
                                    </p:set>
                                    <p:animEffect filter="image" prLst="opacity: 0.5">
                                      <p:cBhvr rctx="IE">
                                        <p:cTn id="37" dur="indefinite"/>
                                        <p:tgtEl>
                                          <p:spTgt spid="6"/>
                                        </p:tgtEl>
                                      </p:cBhvr>
                                    </p:animEffect>
                                  </p:childTnLst>
                                </p:cTn>
                              </p:par>
                              <p:par>
                                <p:cTn id="38" presetID="1" presetClass="entr" presetSubtype="0" fill="hold" grpId="0" nodeType="withEffect">
                                  <p:stCondLst>
                                    <p:cond delay="0"/>
                                  </p:stCondLst>
                                  <p:childTnLst>
                                    <p:set>
                                      <p:cBhvr>
                                        <p:cTn id="39" dur="1" fill="hold">
                                          <p:stCondLst>
                                            <p:cond delay="0"/>
                                          </p:stCondLst>
                                        </p:cTn>
                                        <p:tgtEl>
                                          <p:spTgt spid="7"/>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8"/>
                                        </p:tgtEl>
                                        <p:attrNameLst>
                                          <p:attrName>style.visibility</p:attrName>
                                        </p:attrNameLst>
                                      </p:cBhvr>
                                      <p:to>
                                        <p:strVal val="visible"/>
                                      </p:to>
                                    </p:set>
                                    <p:anim calcmode="lin" valueType="num">
                                      <p:cBhvr additive="base">
                                        <p:cTn id="44" dur="500" fill="hold"/>
                                        <p:tgtEl>
                                          <p:spTgt spid="8"/>
                                        </p:tgtEl>
                                        <p:attrNameLst>
                                          <p:attrName>ppt_x</p:attrName>
                                        </p:attrNameLst>
                                      </p:cBhvr>
                                      <p:tavLst>
                                        <p:tav tm="0">
                                          <p:val>
                                            <p:strVal val="#ppt_x"/>
                                          </p:val>
                                        </p:tav>
                                        <p:tav tm="100000">
                                          <p:val>
                                            <p:strVal val="#ppt_x"/>
                                          </p:val>
                                        </p:tav>
                                      </p:tavLst>
                                    </p:anim>
                                    <p:anim calcmode="lin" valueType="num">
                                      <p:cBhvr additive="base">
                                        <p:cTn id="45"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9" presetClass="emph" presetSubtype="0" grpId="1" nodeType="clickEffect">
                                  <p:stCondLst>
                                    <p:cond delay="0"/>
                                  </p:stCondLst>
                                  <p:childTnLst>
                                    <p:set>
                                      <p:cBhvr rctx="PPT">
                                        <p:cTn id="49" dur="indefinite"/>
                                        <p:tgtEl>
                                          <p:spTgt spid="7"/>
                                        </p:tgtEl>
                                        <p:attrNameLst>
                                          <p:attrName>style.opacity</p:attrName>
                                        </p:attrNameLst>
                                      </p:cBhvr>
                                      <p:to>
                                        <p:strVal val="0.5"/>
                                      </p:to>
                                    </p:set>
                                    <p:animEffect filter="image" prLst="opacity: 0.5">
                                      <p:cBhvr rctx="IE">
                                        <p:cTn id="50" dur="indefinite"/>
                                        <p:tgtEl>
                                          <p:spTgt spid="7"/>
                                        </p:tgtEl>
                                      </p:cBhvr>
                                    </p:animEffect>
                                  </p:childTnLst>
                                </p:cTn>
                              </p:par>
                              <p:par>
                                <p:cTn id="51" presetID="9" presetClass="emph" presetSubtype="0" grpId="1" nodeType="withEffect">
                                  <p:stCondLst>
                                    <p:cond delay="0"/>
                                  </p:stCondLst>
                                  <p:childTnLst>
                                    <p:set>
                                      <p:cBhvr rctx="PPT">
                                        <p:cTn id="52" dur="indefinite"/>
                                        <p:tgtEl>
                                          <p:spTgt spid="8"/>
                                        </p:tgtEl>
                                        <p:attrNameLst>
                                          <p:attrName>style.opacity</p:attrName>
                                        </p:attrNameLst>
                                      </p:cBhvr>
                                      <p:to>
                                        <p:strVal val="0.5"/>
                                      </p:to>
                                    </p:set>
                                    <p:animEffect filter="image" prLst="opacity: 0.5">
                                      <p:cBhvr rctx="IE">
                                        <p:cTn id="53" dur="indefinite"/>
                                        <p:tgtEl>
                                          <p:spTgt spid="8"/>
                                        </p:tgtEl>
                                      </p:cBhvr>
                                    </p:animEffect>
                                  </p:childTnLst>
                                </p:cTn>
                              </p:par>
                              <p:par>
                                <p:cTn id="54" presetID="1" presetClass="entr" presetSubtype="0" fill="hold" grpId="0" nodeType="withEffect">
                                  <p:stCondLst>
                                    <p:cond delay="0"/>
                                  </p:stCondLst>
                                  <p:childTnLst>
                                    <p:set>
                                      <p:cBhvr>
                                        <p:cTn id="55" dur="1" fill="hold">
                                          <p:stCondLst>
                                            <p:cond delay="0"/>
                                          </p:stCondLst>
                                        </p:cTn>
                                        <p:tgtEl>
                                          <p:spTgt spid="9"/>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2" presetClass="entr" presetSubtype="4" fill="hold" grpId="0" nodeType="clickEffect">
                                  <p:stCondLst>
                                    <p:cond delay="0"/>
                                  </p:stCondLst>
                                  <p:childTnLst>
                                    <p:set>
                                      <p:cBhvr>
                                        <p:cTn id="59" dur="1" fill="hold">
                                          <p:stCondLst>
                                            <p:cond delay="0"/>
                                          </p:stCondLst>
                                        </p:cTn>
                                        <p:tgtEl>
                                          <p:spTgt spid="16"/>
                                        </p:tgtEl>
                                        <p:attrNameLst>
                                          <p:attrName>style.visibility</p:attrName>
                                        </p:attrNameLst>
                                      </p:cBhvr>
                                      <p:to>
                                        <p:strVal val="visible"/>
                                      </p:to>
                                    </p:set>
                                    <p:anim calcmode="lin" valueType="num">
                                      <p:cBhvr additive="base">
                                        <p:cTn id="60" dur="500" fill="hold"/>
                                        <p:tgtEl>
                                          <p:spTgt spid="16"/>
                                        </p:tgtEl>
                                        <p:attrNameLst>
                                          <p:attrName>ppt_x</p:attrName>
                                        </p:attrNameLst>
                                      </p:cBhvr>
                                      <p:tavLst>
                                        <p:tav tm="0">
                                          <p:val>
                                            <p:strVal val="#ppt_x"/>
                                          </p:val>
                                        </p:tav>
                                        <p:tav tm="100000">
                                          <p:val>
                                            <p:strVal val="#ppt_x"/>
                                          </p:val>
                                        </p:tav>
                                      </p:tavLst>
                                    </p:anim>
                                    <p:anim calcmode="lin" valueType="num">
                                      <p:cBhvr additive="base">
                                        <p:cTn id="61"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9" presetClass="emph" presetSubtype="0" grpId="1" nodeType="clickEffect">
                                  <p:stCondLst>
                                    <p:cond delay="0"/>
                                  </p:stCondLst>
                                  <p:childTnLst>
                                    <p:set>
                                      <p:cBhvr rctx="PPT">
                                        <p:cTn id="65" dur="indefinite"/>
                                        <p:tgtEl>
                                          <p:spTgt spid="9"/>
                                        </p:tgtEl>
                                        <p:attrNameLst>
                                          <p:attrName>style.opacity</p:attrName>
                                        </p:attrNameLst>
                                      </p:cBhvr>
                                      <p:to>
                                        <p:strVal val="0.5"/>
                                      </p:to>
                                    </p:set>
                                    <p:animEffect filter="image" prLst="opacity: 0.5">
                                      <p:cBhvr rctx="IE">
                                        <p:cTn id="66" dur="indefinite"/>
                                        <p:tgtEl>
                                          <p:spTgt spid="9"/>
                                        </p:tgtEl>
                                      </p:cBhvr>
                                    </p:animEffect>
                                  </p:childTnLst>
                                </p:cTn>
                              </p:par>
                              <p:par>
                                <p:cTn id="67" presetID="9" presetClass="emph" presetSubtype="0" grpId="1" nodeType="withEffect">
                                  <p:stCondLst>
                                    <p:cond delay="0"/>
                                  </p:stCondLst>
                                  <p:childTnLst>
                                    <p:set>
                                      <p:cBhvr rctx="PPT">
                                        <p:cTn id="68" dur="indefinite"/>
                                        <p:tgtEl>
                                          <p:spTgt spid="16"/>
                                        </p:tgtEl>
                                        <p:attrNameLst>
                                          <p:attrName>style.opacity</p:attrName>
                                        </p:attrNameLst>
                                      </p:cBhvr>
                                      <p:to>
                                        <p:strVal val="0.5"/>
                                      </p:to>
                                    </p:set>
                                    <p:animEffect filter="image" prLst="opacity: 0.5">
                                      <p:cBhvr rctx="IE">
                                        <p:cTn id="69" dur="indefinite"/>
                                        <p:tgtEl>
                                          <p:spTgt spid="16"/>
                                        </p:tgtEl>
                                      </p:cBhvr>
                                    </p:animEffect>
                                  </p:childTnLst>
                                </p:cTn>
                              </p:par>
                              <p:par>
                                <p:cTn id="70" presetID="1" presetClass="entr" presetSubtype="0" fill="hold" grpId="0" nodeType="withEffect">
                                  <p:stCondLst>
                                    <p:cond delay="0"/>
                                  </p:stCondLst>
                                  <p:childTnLst>
                                    <p:set>
                                      <p:cBhvr>
                                        <p:cTn id="71" dur="1" fill="hold">
                                          <p:stCondLst>
                                            <p:cond delay="0"/>
                                          </p:stCondLst>
                                        </p:cTn>
                                        <p:tgtEl>
                                          <p:spTgt spid="11"/>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2" presetClass="entr" presetSubtype="4"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 calcmode="lin" valueType="num">
                                      <p:cBhvr additive="base">
                                        <p:cTn id="76" dur="500" fill="hold"/>
                                        <p:tgtEl>
                                          <p:spTgt spid="17"/>
                                        </p:tgtEl>
                                        <p:attrNameLst>
                                          <p:attrName>ppt_x</p:attrName>
                                        </p:attrNameLst>
                                      </p:cBhvr>
                                      <p:tavLst>
                                        <p:tav tm="0">
                                          <p:val>
                                            <p:strVal val="#ppt_x"/>
                                          </p:val>
                                        </p:tav>
                                        <p:tav tm="100000">
                                          <p:val>
                                            <p:strVal val="#ppt_x"/>
                                          </p:val>
                                        </p:tav>
                                      </p:tavLst>
                                    </p:anim>
                                    <p:anim calcmode="lin" valueType="num">
                                      <p:cBhvr additive="base">
                                        <p:cTn id="77"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9" presetClass="emph" presetSubtype="0" grpId="1" nodeType="clickEffect">
                                  <p:stCondLst>
                                    <p:cond delay="0"/>
                                  </p:stCondLst>
                                  <p:childTnLst>
                                    <p:set>
                                      <p:cBhvr rctx="PPT">
                                        <p:cTn id="81" dur="indefinite"/>
                                        <p:tgtEl>
                                          <p:spTgt spid="11"/>
                                        </p:tgtEl>
                                        <p:attrNameLst>
                                          <p:attrName>style.opacity</p:attrName>
                                        </p:attrNameLst>
                                      </p:cBhvr>
                                      <p:to>
                                        <p:strVal val="0.5"/>
                                      </p:to>
                                    </p:set>
                                    <p:animEffect filter="image" prLst="opacity: 0.5">
                                      <p:cBhvr rctx="IE">
                                        <p:cTn id="82" dur="indefinite"/>
                                        <p:tgtEl>
                                          <p:spTgt spid="11"/>
                                        </p:tgtEl>
                                      </p:cBhvr>
                                    </p:animEffect>
                                  </p:childTnLst>
                                </p:cTn>
                              </p:par>
                              <p:par>
                                <p:cTn id="83" presetID="9" presetClass="emph" presetSubtype="0" grpId="1" nodeType="withEffect">
                                  <p:stCondLst>
                                    <p:cond delay="0"/>
                                  </p:stCondLst>
                                  <p:childTnLst>
                                    <p:set>
                                      <p:cBhvr rctx="PPT">
                                        <p:cTn id="84" dur="indefinite"/>
                                        <p:tgtEl>
                                          <p:spTgt spid="17"/>
                                        </p:tgtEl>
                                        <p:attrNameLst>
                                          <p:attrName>style.opacity</p:attrName>
                                        </p:attrNameLst>
                                      </p:cBhvr>
                                      <p:to>
                                        <p:strVal val="0.5"/>
                                      </p:to>
                                    </p:set>
                                    <p:animEffect filter="image" prLst="opacity: 0.5">
                                      <p:cBhvr rctx="IE">
                                        <p:cTn id="85" dur="indefinite"/>
                                        <p:tgtEl>
                                          <p:spTgt spid="17"/>
                                        </p:tgtEl>
                                      </p:cBhvr>
                                    </p:animEffect>
                                  </p:childTnLst>
                                </p:cTn>
                              </p:par>
                              <p:par>
                                <p:cTn id="86" presetID="1" presetClass="entr" presetSubtype="0" fill="hold" grpId="0" nodeType="withEffect">
                                  <p:stCondLst>
                                    <p:cond delay="0"/>
                                  </p:stCondLst>
                                  <p:childTnLst>
                                    <p:set>
                                      <p:cBhvr>
                                        <p:cTn id="87" dur="1" fill="hold">
                                          <p:stCondLst>
                                            <p:cond delay="0"/>
                                          </p:stCondLst>
                                        </p:cTn>
                                        <p:tgtEl>
                                          <p:spTgt spid="13"/>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2" presetClass="entr" presetSubtype="4" fill="hold" grpId="0" nodeType="clickEffect">
                                  <p:stCondLst>
                                    <p:cond delay="0"/>
                                  </p:stCondLst>
                                  <p:childTnLst>
                                    <p:set>
                                      <p:cBhvr>
                                        <p:cTn id="91" dur="1" fill="hold">
                                          <p:stCondLst>
                                            <p:cond delay="0"/>
                                          </p:stCondLst>
                                        </p:cTn>
                                        <p:tgtEl>
                                          <p:spTgt spid="18"/>
                                        </p:tgtEl>
                                        <p:attrNameLst>
                                          <p:attrName>style.visibility</p:attrName>
                                        </p:attrNameLst>
                                      </p:cBhvr>
                                      <p:to>
                                        <p:strVal val="visible"/>
                                      </p:to>
                                    </p:set>
                                    <p:anim calcmode="lin" valueType="num">
                                      <p:cBhvr additive="base">
                                        <p:cTn id="92" dur="500" fill="hold"/>
                                        <p:tgtEl>
                                          <p:spTgt spid="18"/>
                                        </p:tgtEl>
                                        <p:attrNameLst>
                                          <p:attrName>ppt_x</p:attrName>
                                        </p:attrNameLst>
                                      </p:cBhvr>
                                      <p:tavLst>
                                        <p:tav tm="0">
                                          <p:val>
                                            <p:strVal val="#ppt_x"/>
                                          </p:val>
                                        </p:tav>
                                        <p:tav tm="100000">
                                          <p:val>
                                            <p:strVal val="#ppt_x"/>
                                          </p:val>
                                        </p:tav>
                                      </p:tavLst>
                                    </p:anim>
                                    <p:anim calcmode="lin" valueType="num">
                                      <p:cBhvr additive="base">
                                        <p:cTn id="93"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7" grpId="0" animBg="1"/>
      <p:bldP spid="7" grpId="1" animBg="1"/>
      <p:bldP spid="8" grpId="0" animBg="1"/>
      <p:bldP spid="8" grpId="1" animBg="1"/>
      <p:bldP spid="9" grpId="0" animBg="1"/>
      <p:bldP spid="9" grpId="1" animBg="1"/>
      <p:bldP spid="11" grpId="0" animBg="1"/>
      <p:bldP spid="11" grpId="1" animBg="1"/>
      <p:bldP spid="13" grpId="0" animBg="1"/>
      <p:bldP spid="15" grpId="2" animBg="1"/>
      <p:bldP spid="15" grpId="3" animBg="1"/>
      <p:bldP spid="16" grpId="0" animBg="1"/>
      <p:bldP spid="16" grpId="1" animBg="1"/>
      <p:bldP spid="17" grpId="0" animBg="1"/>
      <p:bldP spid="17" grpId="1" animBg="1"/>
      <p:bldP spid="18" grpId="0" animBg="1"/>
      <p:bldP spid="19" grpId="2" animBg="1"/>
      <p:bldP spid="19" grpId="3"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1"/>
          </p:nvPr>
        </p:nvSpPr>
        <p:spPr/>
        <p:txBody>
          <a:bodyPr/>
          <a:lstStyle/>
          <a:p>
            <a:pPr defTabSz="932563"/>
            <a:fld id="{27258FFF-F925-446B-8502-81C933981705}" type="slidenum">
              <a:rPr lang="en-US" smtClean="0">
                <a:solidFill>
                  <a:srgbClr val="505050"/>
                </a:solidFill>
              </a:rPr>
              <a:pPr defTabSz="932563"/>
              <a:t>13</a:t>
            </a:fld>
            <a:endParaRPr lang="en-US" dirty="0">
              <a:solidFill>
                <a:srgbClr val="505050"/>
              </a:solidFill>
            </a:endParaRPr>
          </a:p>
        </p:txBody>
      </p:sp>
      <p:sp>
        <p:nvSpPr>
          <p:cNvPr id="5" name="Título 1"/>
          <p:cNvSpPr>
            <a:spLocks noGrp="1"/>
          </p:cNvSpPr>
          <p:nvPr>
            <p:ph type="title"/>
          </p:nvPr>
        </p:nvSpPr>
        <p:spPr>
          <a:xfrm>
            <a:off x="585216" y="264964"/>
            <a:ext cx="11226195" cy="1097302"/>
          </a:xfrm>
        </p:spPr>
        <p:txBody>
          <a:bodyPr/>
          <a:lstStyle/>
          <a:p>
            <a:r>
              <a:rPr lang="es-ES" dirty="0"/>
              <a:t>R-</a:t>
            </a:r>
            <a:r>
              <a:rPr lang="es-ES" b="1" dirty="0">
                <a:solidFill>
                  <a:schemeClr val="accent1">
                    <a:lumMod val="75000"/>
                  </a:schemeClr>
                </a:solidFill>
                <a:effectLst>
                  <a:outerShdw blurRad="38100" dist="38100" dir="2700000" algn="tl">
                    <a:srgbClr val="000000">
                      <a:alpha val="43137"/>
                    </a:srgbClr>
                  </a:outerShdw>
                </a:effectLst>
              </a:rPr>
              <a:t>SOLID </a:t>
            </a:r>
            <a:r>
              <a:rPr lang="es-ES" sz="3200" b="1" dirty="0" smtClean="0">
                <a:solidFill>
                  <a:schemeClr val="accent1">
                    <a:lumMod val="75000"/>
                  </a:schemeClr>
                </a:solidFill>
                <a:effectLst>
                  <a:outerShdw blurRad="38100" dist="38100" dir="2700000" algn="tl">
                    <a:srgbClr val="000000">
                      <a:alpha val="43137"/>
                    </a:srgbClr>
                  </a:outerShdw>
                </a:effectLst>
              </a:rPr>
              <a:t>CASO USO FOTOS</a:t>
            </a:r>
            <a:endParaRPr lang="es-ES" b="1" dirty="0">
              <a:solidFill>
                <a:schemeClr val="accent1">
                  <a:lumMod val="75000"/>
                </a:schemeClr>
              </a:solidFill>
              <a:effectLst>
                <a:outerShdw blurRad="38100" dist="38100" dir="2700000" algn="tl">
                  <a:srgbClr val="000000">
                    <a:alpha val="43137"/>
                  </a:srgbClr>
                </a:outerShdw>
              </a:effectLst>
            </a:endParaRPr>
          </a:p>
        </p:txBody>
      </p:sp>
      <p:grpSp>
        <p:nvGrpSpPr>
          <p:cNvPr id="11" name="Grupo 10"/>
          <p:cNvGrpSpPr/>
          <p:nvPr/>
        </p:nvGrpSpPr>
        <p:grpSpPr>
          <a:xfrm>
            <a:off x="580861" y="1413099"/>
            <a:ext cx="1687721" cy="729531"/>
            <a:chOff x="585216" y="1823186"/>
            <a:chExt cx="1687721" cy="729531"/>
          </a:xfrm>
        </p:grpSpPr>
        <p:sp>
          <p:nvSpPr>
            <p:cNvPr id="6" name="Rectángulo redondeado 5"/>
            <p:cNvSpPr/>
            <p:nvPr/>
          </p:nvSpPr>
          <p:spPr bwMode="auto">
            <a:xfrm>
              <a:off x="585216" y="1823186"/>
              <a:ext cx="168772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CuadroTexto 8"/>
            <p:cNvSpPr txBox="1"/>
            <p:nvPr/>
          </p:nvSpPr>
          <p:spPr>
            <a:xfrm>
              <a:off x="745455" y="1874019"/>
              <a:ext cx="1301059" cy="627864"/>
            </a:xfrm>
            <a:prstGeom prst="rect">
              <a:avLst/>
            </a:prstGeom>
            <a:noFill/>
          </p:spPr>
          <p:txBody>
            <a:bodyPr wrap="square" lIns="182880" tIns="146304" rIns="182880" bIns="146304" rtlCol="0">
              <a:spAutoFit/>
            </a:bodyPr>
            <a:lstStyle/>
            <a:p>
              <a:pPr>
                <a:lnSpc>
                  <a:spcPct val="90000"/>
                </a:lnSpc>
                <a:spcAft>
                  <a:spcPts val="600"/>
                </a:spcAft>
              </a:pPr>
              <a:r>
                <a:rPr lang="es-ES" dirty="0" smtClean="0">
                  <a:gradFill>
                    <a:gsLst>
                      <a:gs pos="2917">
                        <a:schemeClr val="tx1"/>
                      </a:gs>
                      <a:gs pos="30000">
                        <a:schemeClr val="tx1"/>
                      </a:gs>
                    </a:gsLst>
                    <a:lin ang="5400000" scaled="0"/>
                  </a:gradFill>
                </a:rPr>
                <a:t>FASE 0</a:t>
              </a:r>
              <a:endParaRPr lang="es-ES" sz="2400" dirty="0" smtClean="0">
                <a:gradFill>
                  <a:gsLst>
                    <a:gs pos="2917">
                      <a:schemeClr val="tx1"/>
                    </a:gs>
                    <a:gs pos="30000">
                      <a:schemeClr val="tx1"/>
                    </a:gs>
                  </a:gsLst>
                  <a:lin ang="5400000" scaled="0"/>
                </a:gradFill>
              </a:endParaRPr>
            </a:p>
          </p:txBody>
        </p:sp>
      </p:grpSp>
      <p:grpSp>
        <p:nvGrpSpPr>
          <p:cNvPr id="12" name="Grupo 11"/>
          <p:cNvGrpSpPr/>
          <p:nvPr/>
        </p:nvGrpSpPr>
        <p:grpSpPr>
          <a:xfrm>
            <a:off x="580860" y="2805101"/>
            <a:ext cx="1687721" cy="729531"/>
            <a:chOff x="585216" y="1823186"/>
            <a:chExt cx="1687721" cy="729531"/>
          </a:xfrm>
        </p:grpSpPr>
        <p:sp>
          <p:nvSpPr>
            <p:cNvPr id="13" name="Rectángulo redondeado 12"/>
            <p:cNvSpPr/>
            <p:nvPr/>
          </p:nvSpPr>
          <p:spPr bwMode="auto">
            <a:xfrm>
              <a:off x="585216" y="1823186"/>
              <a:ext cx="168772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CuadroTexto 13"/>
            <p:cNvSpPr txBox="1"/>
            <p:nvPr/>
          </p:nvSpPr>
          <p:spPr>
            <a:xfrm>
              <a:off x="745455" y="1874019"/>
              <a:ext cx="1301059" cy="627864"/>
            </a:xfrm>
            <a:prstGeom prst="rect">
              <a:avLst/>
            </a:prstGeom>
            <a:noFill/>
          </p:spPr>
          <p:txBody>
            <a:bodyPr wrap="square" lIns="182880" tIns="146304" rIns="182880" bIns="146304" rtlCol="0">
              <a:spAutoFit/>
            </a:bodyPr>
            <a:lstStyle/>
            <a:p>
              <a:pPr>
                <a:lnSpc>
                  <a:spcPct val="90000"/>
                </a:lnSpc>
                <a:spcAft>
                  <a:spcPts val="600"/>
                </a:spcAft>
              </a:pPr>
              <a:r>
                <a:rPr lang="es-ES" dirty="0" smtClean="0">
                  <a:gradFill>
                    <a:gsLst>
                      <a:gs pos="2917">
                        <a:schemeClr val="tx1"/>
                      </a:gs>
                      <a:gs pos="30000">
                        <a:schemeClr val="tx1"/>
                      </a:gs>
                    </a:gsLst>
                    <a:lin ang="5400000" scaled="0"/>
                  </a:gradFill>
                </a:rPr>
                <a:t>FASE 1</a:t>
              </a:r>
              <a:endParaRPr lang="es-ES" sz="2400" dirty="0" smtClean="0">
                <a:gradFill>
                  <a:gsLst>
                    <a:gs pos="2917">
                      <a:schemeClr val="tx1"/>
                    </a:gs>
                    <a:gs pos="30000">
                      <a:schemeClr val="tx1"/>
                    </a:gs>
                  </a:gsLst>
                  <a:lin ang="5400000" scaled="0"/>
                </a:gradFill>
              </a:endParaRPr>
            </a:p>
          </p:txBody>
        </p:sp>
      </p:grpSp>
      <p:grpSp>
        <p:nvGrpSpPr>
          <p:cNvPr id="15" name="Grupo 14"/>
          <p:cNvGrpSpPr/>
          <p:nvPr/>
        </p:nvGrpSpPr>
        <p:grpSpPr>
          <a:xfrm>
            <a:off x="580859" y="4197103"/>
            <a:ext cx="1687721" cy="729531"/>
            <a:chOff x="585216" y="1823186"/>
            <a:chExt cx="1687721" cy="729531"/>
          </a:xfrm>
        </p:grpSpPr>
        <p:sp>
          <p:nvSpPr>
            <p:cNvPr id="16" name="Rectángulo redondeado 15"/>
            <p:cNvSpPr/>
            <p:nvPr/>
          </p:nvSpPr>
          <p:spPr bwMode="auto">
            <a:xfrm>
              <a:off x="585216" y="1823186"/>
              <a:ext cx="168772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CuadroTexto 16"/>
            <p:cNvSpPr txBox="1"/>
            <p:nvPr/>
          </p:nvSpPr>
          <p:spPr>
            <a:xfrm>
              <a:off x="745455" y="1874019"/>
              <a:ext cx="1301059" cy="627864"/>
            </a:xfrm>
            <a:prstGeom prst="rect">
              <a:avLst/>
            </a:prstGeom>
            <a:noFill/>
          </p:spPr>
          <p:txBody>
            <a:bodyPr wrap="square" lIns="182880" tIns="146304" rIns="182880" bIns="146304" rtlCol="0">
              <a:spAutoFit/>
            </a:bodyPr>
            <a:lstStyle/>
            <a:p>
              <a:pPr>
                <a:lnSpc>
                  <a:spcPct val="90000"/>
                </a:lnSpc>
                <a:spcAft>
                  <a:spcPts val="600"/>
                </a:spcAft>
              </a:pPr>
              <a:r>
                <a:rPr lang="es-ES" dirty="0" smtClean="0">
                  <a:gradFill>
                    <a:gsLst>
                      <a:gs pos="2917">
                        <a:schemeClr val="tx1"/>
                      </a:gs>
                      <a:gs pos="30000">
                        <a:schemeClr val="tx1"/>
                      </a:gs>
                    </a:gsLst>
                    <a:lin ang="5400000" scaled="0"/>
                  </a:gradFill>
                </a:rPr>
                <a:t>FASE 2</a:t>
              </a:r>
              <a:endParaRPr lang="es-ES" sz="2400" dirty="0" smtClean="0">
                <a:gradFill>
                  <a:gsLst>
                    <a:gs pos="2917">
                      <a:schemeClr val="tx1"/>
                    </a:gs>
                    <a:gs pos="30000">
                      <a:schemeClr val="tx1"/>
                    </a:gs>
                  </a:gsLst>
                  <a:lin ang="5400000" scaled="0"/>
                </a:gradFill>
              </a:endParaRPr>
            </a:p>
          </p:txBody>
        </p:sp>
      </p:grpSp>
      <p:grpSp>
        <p:nvGrpSpPr>
          <p:cNvPr id="18" name="Grupo 17"/>
          <p:cNvGrpSpPr/>
          <p:nvPr/>
        </p:nvGrpSpPr>
        <p:grpSpPr>
          <a:xfrm>
            <a:off x="580859" y="5579025"/>
            <a:ext cx="1687721" cy="729531"/>
            <a:chOff x="585216" y="1823186"/>
            <a:chExt cx="1687721" cy="729531"/>
          </a:xfrm>
        </p:grpSpPr>
        <p:sp>
          <p:nvSpPr>
            <p:cNvPr id="19" name="Rectángulo redondeado 18"/>
            <p:cNvSpPr/>
            <p:nvPr/>
          </p:nvSpPr>
          <p:spPr bwMode="auto">
            <a:xfrm>
              <a:off x="585216" y="1823186"/>
              <a:ext cx="168772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CuadroTexto 19"/>
            <p:cNvSpPr txBox="1"/>
            <p:nvPr/>
          </p:nvSpPr>
          <p:spPr>
            <a:xfrm>
              <a:off x="745455" y="1874019"/>
              <a:ext cx="1301059" cy="627864"/>
            </a:xfrm>
            <a:prstGeom prst="rect">
              <a:avLst/>
            </a:prstGeom>
            <a:noFill/>
          </p:spPr>
          <p:txBody>
            <a:bodyPr wrap="square" lIns="182880" tIns="146304" rIns="182880" bIns="146304" rtlCol="0">
              <a:spAutoFit/>
            </a:bodyPr>
            <a:lstStyle/>
            <a:p>
              <a:pPr>
                <a:lnSpc>
                  <a:spcPct val="90000"/>
                </a:lnSpc>
                <a:spcAft>
                  <a:spcPts val="600"/>
                </a:spcAft>
              </a:pPr>
              <a:r>
                <a:rPr lang="es-ES" dirty="0" smtClean="0">
                  <a:gradFill>
                    <a:gsLst>
                      <a:gs pos="2917">
                        <a:schemeClr val="tx1"/>
                      </a:gs>
                      <a:gs pos="30000">
                        <a:schemeClr val="tx1"/>
                      </a:gs>
                    </a:gsLst>
                    <a:lin ang="5400000" scaled="0"/>
                  </a:gradFill>
                </a:rPr>
                <a:t>FASE 3</a:t>
              </a:r>
              <a:endParaRPr lang="es-ES" sz="2400" dirty="0" smtClean="0">
                <a:gradFill>
                  <a:gsLst>
                    <a:gs pos="2917">
                      <a:schemeClr val="tx1"/>
                    </a:gs>
                    <a:gs pos="30000">
                      <a:schemeClr val="tx1"/>
                    </a:gs>
                  </a:gsLst>
                  <a:lin ang="5400000" scaled="0"/>
                </a:gradFill>
              </a:endParaRPr>
            </a:p>
          </p:txBody>
        </p:sp>
      </p:grpSp>
      <p:grpSp>
        <p:nvGrpSpPr>
          <p:cNvPr id="24" name="Grupo 23"/>
          <p:cNvGrpSpPr/>
          <p:nvPr/>
        </p:nvGrpSpPr>
        <p:grpSpPr>
          <a:xfrm>
            <a:off x="9614262" y="1413099"/>
            <a:ext cx="2408095" cy="729531"/>
            <a:chOff x="529145" y="1874019"/>
            <a:chExt cx="1550461" cy="729531"/>
          </a:xfrm>
        </p:grpSpPr>
        <p:sp>
          <p:nvSpPr>
            <p:cNvPr id="25" name="Rectángulo redondeado 24"/>
            <p:cNvSpPr/>
            <p:nvPr/>
          </p:nvSpPr>
          <p:spPr bwMode="auto">
            <a:xfrm>
              <a:off x="529145" y="1874019"/>
              <a:ext cx="155046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 name="CuadroTexto 25"/>
            <p:cNvSpPr txBox="1"/>
            <p:nvPr/>
          </p:nvSpPr>
          <p:spPr>
            <a:xfrm>
              <a:off x="585214" y="1947785"/>
              <a:ext cx="1494390" cy="572464"/>
            </a:xfrm>
            <a:prstGeom prst="rect">
              <a:avLst/>
            </a:prstGeom>
            <a:noFill/>
          </p:spPr>
          <p:txBody>
            <a:bodyPr wrap="square" lIns="182880" tIns="146304" rIns="182880" bIns="146304" rtlCol="0">
              <a:spAutoFit/>
            </a:bodyPr>
            <a:lstStyle/>
            <a:p>
              <a:pPr>
                <a:lnSpc>
                  <a:spcPct val="90000"/>
                </a:lnSpc>
                <a:spcAft>
                  <a:spcPts val="600"/>
                </a:spcAft>
              </a:pPr>
              <a:r>
                <a:rPr lang="es-ES" sz="2000" dirty="0" smtClean="0"/>
                <a:t>Nace proyecto</a:t>
              </a:r>
              <a:endParaRPr lang="es-ES" sz="2000" dirty="0"/>
            </a:p>
          </p:txBody>
        </p:sp>
      </p:grpSp>
      <p:grpSp>
        <p:nvGrpSpPr>
          <p:cNvPr id="30" name="Grupo 29"/>
          <p:cNvGrpSpPr/>
          <p:nvPr/>
        </p:nvGrpSpPr>
        <p:grpSpPr>
          <a:xfrm>
            <a:off x="3080221" y="1348578"/>
            <a:ext cx="5806876" cy="852841"/>
            <a:chOff x="585216" y="1814052"/>
            <a:chExt cx="1687721" cy="738665"/>
          </a:xfrm>
        </p:grpSpPr>
        <p:sp>
          <p:nvSpPr>
            <p:cNvPr id="31" name="Rectángulo redondeado 30"/>
            <p:cNvSpPr/>
            <p:nvPr/>
          </p:nvSpPr>
          <p:spPr bwMode="auto">
            <a:xfrm>
              <a:off x="585216" y="1823186"/>
              <a:ext cx="168772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CuadroTexto 31"/>
            <p:cNvSpPr txBox="1"/>
            <p:nvPr/>
          </p:nvSpPr>
          <p:spPr>
            <a:xfrm>
              <a:off x="610274" y="1814052"/>
              <a:ext cx="1637605" cy="735739"/>
            </a:xfrm>
            <a:prstGeom prst="rect">
              <a:avLst/>
            </a:prstGeom>
            <a:noFill/>
          </p:spPr>
          <p:txBody>
            <a:bodyPr wrap="square" lIns="182880" tIns="146304" rIns="182880" bIns="146304" rtlCol="0">
              <a:spAutoFit/>
            </a:bodyPr>
            <a:lstStyle/>
            <a:p>
              <a:pPr>
                <a:lnSpc>
                  <a:spcPct val="90000"/>
                </a:lnSpc>
                <a:spcAft>
                  <a:spcPts val="600"/>
                </a:spcAft>
              </a:pPr>
              <a:r>
                <a:rPr lang="es-ES" sz="2000" dirty="0"/>
                <a:t>Asignación de nombre a Fotos </a:t>
              </a:r>
              <a:r>
                <a:rPr lang="es-ES" sz="2000" dirty="0" smtClean="0"/>
                <a:t>digitalizadas </a:t>
              </a:r>
              <a:r>
                <a:rPr lang="es-ES" sz="2000" dirty="0">
                  <a:sym typeface="Wingdings" panose="05000000000000000000" pitchFamily="2" charset="2"/>
                </a:rPr>
                <a:t></a:t>
              </a:r>
              <a:r>
                <a:rPr lang="es-ES" sz="2000" dirty="0" smtClean="0"/>
                <a:t> Carpeta </a:t>
              </a:r>
              <a:r>
                <a:rPr lang="es-ES" sz="2000" dirty="0"/>
                <a:t>única</a:t>
              </a:r>
              <a:endParaRPr lang="es-ES" sz="2000" dirty="0" smtClean="0">
                <a:gradFill>
                  <a:gsLst>
                    <a:gs pos="2917">
                      <a:schemeClr val="tx1"/>
                    </a:gs>
                    <a:gs pos="30000">
                      <a:schemeClr val="tx1"/>
                    </a:gs>
                  </a:gsLst>
                  <a:lin ang="5400000" scaled="0"/>
                </a:gradFill>
              </a:endParaRPr>
            </a:p>
          </p:txBody>
        </p:sp>
      </p:grpSp>
      <p:grpSp>
        <p:nvGrpSpPr>
          <p:cNvPr id="33" name="Grupo 32"/>
          <p:cNvGrpSpPr/>
          <p:nvPr/>
        </p:nvGrpSpPr>
        <p:grpSpPr>
          <a:xfrm>
            <a:off x="9614263" y="2745133"/>
            <a:ext cx="2408095" cy="849463"/>
            <a:chOff x="529145" y="1814052"/>
            <a:chExt cx="1550461" cy="849463"/>
          </a:xfrm>
        </p:grpSpPr>
        <p:sp>
          <p:nvSpPr>
            <p:cNvPr id="34" name="Rectángulo redondeado 33"/>
            <p:cNvSpPr/>
            <p:nvPr/>
          </p:nvSpPr>
          <p:spPr bwMode="auto">
            <a:xfrm>
              <a:off x="529145" y="1874019"/>
              <a:ext cx="155046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CuadroTexto 34"/>
            <p:cNvSpPr txBox="1"/>
            <p:nvPr/>
          </p:nvSpPr>
          <p:spPr>
            <a:xfrm>
              <a:off x="585216" y="1814052"/>
              <a:ext cx="1494390" cy="849463"/>
            </a:xfrm>
            <a:prstGeom prst="rect">
              <a:avLst/>
            </a:prstGeom>
            <a:noFill/>
          </p:spPr>
          <p:txBody>
            <a:bodyPr wrap="square" lIns="182880" tIns="146304" rIns="182880" bIns="146304" rtlCol="0">
              <a:spAutoFit/>
            </a:bodyPr>
            <a:lstStyle/>
            <a:p>
              <a:pPr>
                <a:lnSpc>
                  <a:spcPct val="90000"/>
                </a:lnSpc>
                <a:spcAft>
                  <a:spcPts val="600"/>
                </a:spcAft>
              </a:pPr>
              <a:r>
                <a:rPr lang="es-ES" sz="2000" dirty="0">
                  <a:sym typeface="Wingdings" panose="05000000000000000000" pitchFamily="2" charset="2"/>
                </a:rPr>
                <a:t>1ª refactorización (2 formas)</a:t>
              </a:r>
              <a:endParaRPr lang="es-ES" sz="2000" dirty="0"/>
            </a:p>
          </p:txBody>
        </p:sp>
      </p:grpSp>
      <p:grpSp>
        <p:nvGrpSpPr>
          <p:cNvPr id="58" name="Grupo 57"/>
          <p:cNvGrpSpPr/>
          <p:nvPr/>
        </p:nvGrpSpPr>
        <p:grpSpPr>
          <a:xfrm>
            <a:off x="2933640" y="3756154"/>
            <a:ext cx="5953457" cy="1683731"/>
            <a:chOff x="2933640" y="3756154"/>
            <a:chExt cx="5953457" cy="1683731"/>
          </a:xfrm>
        </p:grpSpPr>
        <p:grpSp>
          <p:nvGrpSpPr>
            <p:cNvPr id="37" name="Grupo 36"/>
            <p:cNvGrpSpPr/>
            <p:nvPr/>
          </p:nvGrpSpPr>
          <p:grpSpPr>
            <a:xfrm>
              <a:off x="3080221" y="3996307"/>
              <a:ext cx="5806876" cy="1443578"/>
              <a:chOff x="585216" y="1814052"/>
              <a:chExt cx="1687721" cy="975654"/>
            </a:xfrm>
          </p:grpSpPr>
          <p:sp>
            <p:nvSpPr>
              <p:cNvPr id="38" name="Rectángulo redondeado 37"/>
              <p:cNvSpPr/>
              <p:nvPr/>
            </p:nvSpPr>
            <p:spPr bwMode="auto">
              <a:xfrm>
                <a:off x="585216" y="1823186"/>
                <a:ext cx="168772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CuadroTexto 38"/>
              <p:cNvSpPr txBox="1"/>
              <p:nvPr/>
            </p:nvSpPr>
            <p:spPr>
              <a:xfrm>
                <a:off x="610274" y="1814052"/>
                <a:ext cx="1637605" cy="975654"/>
              </a:xfrm>
              <a:prstGeom prst="rect">
                <a:avLst/>
              </a:prstGeom>
              <a:noFill/>
            </p:spPr>
            <p:txBody>
              <a:bodyPr wrap="square" lIns="182880" tIns="146304" rIns="182880" bIns="146304" rtlCol="0">
                <a:spAutoFit/>
              </a:bodyPr>
              <a:lstStyle/>
              <a:p>
                <a:pPr>
                  <a:lnSpc>
                    <a:spcPct val="90000"/>
                  </a:lnSpc>
                  <a:spcAft>
                    <a:spcPts val="600"/>
                  </a:spcAft>
                </a:pPr>
                <a:r>
                  <a:rPr lang="es-ES" sz="2000" dirty="0"/>
                  <a:t>SD </a:t>
                </a:r>
                <a:r>
                  <a:rPr lang="es-ES" sz="2000" dirty="0">
                    <a:sym typeface="Wingdings" panose="05000000000000000000" pitchFamily="2" charset="2"/>
                  </a:rPr>
                  <a:t></a:t>
                </a:r>
                <a:r>
                  <a:rPr lang="es-ES" sz="2000" dirty="0"/>
                  <a:t> </a:t>
                </a:r>
                <a:r>
                  <a:rPr lang="es-ES" sz="2000" dirty="0">
                    <a:sym typeface="Wingdings" panose="05000000000000000000" pitchFamily="2" charset="2"/>
                  </a:rPr>
                  <a:t>Nueva carpeta, Nueva carpeta (1), Nueva carpeta (2), varios, </a:t>
                </a:r>
                <a:r>
                  <a:rPr lang="es-ES" sz="2000" dirty="0" err="1">
                    <a:sym typeface="Wingdings" panose="05000000000000000000" pitchFamily="2" charset="2"/>
                  </a:rPr>
                  <a:t>etc</a:t>
                </a:r>
                <a:r>
                  <a:rPr lang="es-ES" sz="2000" dirty="0">
                    <a:sym typeface="Wingdings" panose="05000000000000000000" pitchFamily="2" charset="2"/>
                  </a:rPr>
                  <a:t> (Varios más grande que FASE 1)</a:t>
                </a:r>
                <a:endParaRPr lang="es-ES" sz="2000" dirty="0" smtClean="0">
                  <a:gradFill>
                    <a:gsLst>
                      <a:gs pos="2917">
                        <a:schemeClr val="tx1"/>
                      </a:gs>
                      <a:gs pos="30000">
                        <a:schemeClr val="tx1"/>
                      </a:gs>
                    </a:gsLst>
                    <a:lin ang="5400000" scaled="0"/>
                  </a:gradFill>
                </a:endParaRPr>
              </a:p>
            </p:txBody>
          </p:sp>
        </p:grpSp>
        <p:pic>
          <p:nvPicPr>
            <p:cNvPr id="43" name="Imagen 42"/>
            <p:cNvPicPr>
              <a:picLocks noChangeAspect="1"/>
            </p:cNvPicPr>
            <p:nvPr/>
          </p:nvPicPr>
          <p:blipFill rotWithShape="1">
            <a:blip r:embed="rId2"/>
            <a:srcRect l="5414" r="3069"/>
            <a:stretch/>
          </p:blipFill>
          <p:spPr>
            <a:xfrm>
              <a:off x="2933640" y="3756154"/>
              <a:ext cx="379378" cy="511450"/>
            </a:xfrm>
            <a:prstGeom prst="snip1Rect">
              <a:avLst/>
            </a:prstGeom>
          </p:spPr>
        </p:pic>
      </p:grpSp>
      <p:grpSp>
        <p:nvGrpSpPr>
          <p:cNvPr id="44" name="Grupo 43"/>
          <p:cNvGrpSpPr/>
          <p:nvPr/>
        </p:nvGrpSpPr>
        <p:grpSpPr>
          <a:xfrm>
            <a:off x="9614259" y="4192560"/>
            <a:ext cx="2408095" cy="729531"/>
            <a:chOff x="529145" y="1874019"/>
            <a:chExt cx="1550461" cy="729531"/>
          </a:xfrm>
        </p:grpSpPr>
        <p:sp>
          <p:nvSpPr>
            <p:cNvPr id="45" name="Rectángulo redondeado 44"/>
            <p:cNvSpPr/>
            <p:nvPr/>
          </p:nvSpPr>
          <p:spPr bwMode="auto">
            <a:xfrm>
              <a:off x="529145" y="1874019"/>
              <a:ext cx="155046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CuadroTexto 45"/>
            <p:cNvSpPr txBox="1"/>
            <p:nvPr/>
          </p:nvSpPr>
          <p:spPr>
            <a:xfrm>
              <a:off x="585216" y="1932410"/>
              <a:ext cx="1494390" cy="572464"/>
            </a:xfrm>
            <a:prstGeom prst="rect">
              <a:avLst/>
            </a:prstGeom>
            <a:noFill/>
          </p:spPr>
          <p:txBody>
            <a:bodyPr wrap="square" lIns="182880" tIns="146304" rIns="182880" bIns="146304" rtlCol="0">
              <a:spAutoFit/>
            </a:bodyPr>
            <a:lstStyle/>
            <a:p>
              <a:pPr>
                <a:lnSpc>
                  <a:spcPct val="90000"/>
                </a:lnSpc>
                <a:spcAft>
                  <a:spcPts val="600"/>
                </a:spcAft>
              </a:pPr>
              <a:r>
                <a:rPr lang="es-ES" sz="2000" dirty="0">
                  <a:sym typeface="Wingdings" panose="05000000000000000000" pitchFamily="2" charset="2"/>
                </a:rPr>
                <a:t>2 formas + saco</a:t>
              </a:r>
              <a:endParaRPr lang="es-ES" sz="2000" dirty="0"/>
            </a:p>
          </p:txBody>
        </p:sp>
      </p:grpSp>
      <p:grpSp>
        <p:nvGrpSpPr>
          <p:cNvPr id="47" name="Grupo 46"/>
          <p:cNvGrpSpPr/>
          <p:nvPr/>
        </p:nvGrpSpPr>
        <p:grpSpPr>
          <a:xfrm>
            <a:off x="9614258" y="5520055"/>
            <a:ext cx="2408095" cy="849463"/>
            <a:chOff x="529145" y="1830408"/>
            <a:chExt cx="1550461" cy="849463"/>
          </a:xfrm>
        </p:grpSpPr>
        <p:sp>
          <p:nvSpPr>
            <p:cNvPr id="48" name="Rectángulo redondeado 47"/>
            <p:cNvSpPr/>
            <p:nvPr/>
          </p:nvSpPr>
          <p:spPr bwMode="auto">
            <a:xfrm>
              <a:off x="529145" y="1874019"/>
              <a:ext cx="155046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CuadroTexto 48"/>
            <p:cNvSpPr txBox="1"/>
            <p:nvPr/>
          </p:nvSpPr>
          <p:spPr>
            <a:xfrm>
              <a:off x="585216" y="1830408"/>
              <a:ext cx="1494390" cy="849463"/>
            </a:xfrm>
            <a:prstGeom prst="rect">
              <a:avLst/>
            </a:prstGeom>
            <a:noFill/>
          </p:spPr>
          <p:txBody>
            <a:bodyPr wrap="square" lIns="182880" tIns="146304" rIns="182880" bIns="146304" rtlCol="0">
              <a:spAutoFit/>
            </a:bodyPr>
            <a:lstStyle/>
            <a:p>
              <a:pPr>
                <a:lnSpc>
                  <a:spcPct val="90000"/>
                </a:lnSpc>
                <a:spcAft>
                  <a:spcPts val="600"/>
                </a:spcAft>
              </a:pPr>
              <a:r>
                <a:rPr lang="es-ES" sz="2000" dirty="0">
                  <a:sym typeface="Wingdings" panose="05000000000000000000" pitchFamily="2" charset="2"/>
                </a:rPr>
                <a:t>Regresión </a:t>
              </a:r>
              <a:r>
                <a:rPr lang="es-ES" sz="2000" dirty="0" smtClean="0">
                  <a:sym typeface="Wingdings" panose="05000000000000000000" pitchFamily="2" charset="2"/>
                </a:rPr>
                <a:t>mismos errores</a:t>
              </a:r>
              <a:endParaRPr lang="es-ES" sz="2000" dirty="0"/>
            </a:p>
          </p:txBody>
        </p:sp>
      </p:grpSp>
      <p:sp>
        <p:nvSpPr>
          <p:cNvPr id="50" name="AutoShape 2" descr="Resultado de imagen de bebe caricatur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grpSp>
        <p:nvGrpSpPr>
          <p:cNvPr id="59" name="Grupo 58"/>
          <p:cNvGrpSpPr/>
          <p:nvPr/>
        </p:nvGrpSpPr>
        <p:grpSpPr>
          <a:xfrm>
            <a:off x="2791819" y="5156635"/>
            <a:ext cx="6095278" cy="1192944"/>
            <a:chOff x="2791819" y="5156635"/>
            <a:chExt cx="6095278" cy="1192944"/>
          </a:xfrm>
        </p:grpSpPr>
        <p:grpSp>
          <p:nvGrpSpPr>
            <p:cNvPr id="40" name="Grupo 39"/>
            <p:cNvGrpSpPr/>
            <p:nvPr/>
          </p:nvGrpSpPr>
          <p:grpSpPr>
            <a:xfrm>
              <a:off x="3080221" y="5507284"/>
              <a:ext cx="5806876" cy="842295"/>
              <a:chOff x="585216" y="1823186"/>
              <a:chExt cx="1687721" cy="729531"/>
            </a:xfrm>
          </p:grpSpPr>
          <p:sp>
            <p:nvSpPr>
              <p:cNvPr id="41" name="Rectángulo redondeado 40"/>
              <p:cNvSpPr/>
              <p:nvPr/>
            </p:nvSpPr>
            <p:spPr bwMode="auto">
              <a:xfrm>
                <a:off x="585216" y="1823186"/>
                <a:ext cx="168772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CuadroTexto 41"/>
              <p:cNvSpPr txBox="1"/>
              <p:nvPr/>
            </p:nvSpPr>
            <p:spPr>
              <a:xfrm>
                <a:off x="610274" y="1921308"/>
                <a:ext cx="1637605" cy="495824"/>
              </a:xfrm>
              <a:prstGeom prst="rect">
                <a:avLst/>
              </a:prstGeom>
              <a:noFill/>
            </p:spPr>
            <p:txBody>
              <a:bodyPr wrap="square" lIns="182880" tIns="146304" rIns="182880" bIns="146304" rtlCol="0">
                <a:spAutoFit/>
              </a:bodyPr>
              <a:lstStyle/>
              <a:p>
                <a:pPr>
                  <a:lnSpc>
                    <a:spcPct val="90000"/>
                  </a:lnSpc>
                  <a:spcAft>
                    <a:spcPts val="600"/>
                  </a:spcAft>
                </a:pPr>
                <a:r>
                  <a:rPr lang="es-ES" sz="2000" dirty="0"/>
                  <a:t>Tiempo </a:t>
                </a:r>
                <a:r>
                  <a:rPr lang="es-ES" sz="2000" dirty="0">
                    <a:sym typeface="Wingdings" panose="05000000000000000000" pitchFamily="2" charset="2"/>
                  </a:rPr>
                  <a:t> Fase 0  Fase 1  Fase 2  Fase 0</a:t>
                </a:r>
                <a:endParaRPr lang="es-ES" sz="2000" dirty="0" smtClean="0">
                  <a:gradFill>
                    <a:gsLst>
                      <a:gs pos="2917">
                        <a:schemeClr val="tx1"/>
                      </a:gs>
                      <a:gs pos="30000">
                        <a:schemeClr val="tx1"/>
                      </a:gs>
                    </a:gsLst>
                    <a:lin ang="5400000" scaled="0"/>
                  </a:gradFill>
                </a:endParaRPr>
              </a:p>
            </p:txBody>
          </p:sp>
        </p:grpSp>
        <p:pic>
          <p:nvPicPr>
            <p:cNvPr id="52" name="Picture 2" descr="Resultado de imagen de bebe caricatura"/>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91819" y="5156635"/>
              <a:ext cx="662150" cy="6621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7" name="Grupo 56"/>
          <p:cNvGrpSpPr/>
          <p:nvPr/>
        </p:nvGrpSpPr>
        <p:grpSpPr>
          <a:xfrm>
            <a:off x="2914479" y="2360449"/>
            <a:ext cx="5972618" cy="1229919"/>
            <a:chOff x="2970166" y="2364677"/>
            <a:chExt cx="5972618" cy="1229919"/>
          </a:xfrm>
        </p:grpSpPr>
        <p:grpSp>
          <p:nvGrpSpPr>
            <p:cNvPr id="53" name="Grupo 52"/>
            <p:cNvGrpSpPr/>
            <p:nvPr/>
          </p:nvGrpSpPr>
          <p:grpSpPr>
            <a:xfrm>
              <a:off x="3135908" y="2741755"/>
              <a:ext cx="5806876" cy="852841"/>
              <a:chOff x="585216" y="1814052"/>
              <a:chExt cx="1687721" cy="738665"/>
            </a:xfrm>
          </p:grpSpPr>
          <p:sp>
            <p:nvSpPr>
              <p:cNvPr id="54" name="Rectángulo redondeado 53"/>
              <p:cNvSpPr/>
              <p:nvPr/>
            </p:nvSpPr>
            <p:spPr bwMode="auto">
              <a:xfrm>
                <a:off x="585216" y="1823186"/>
                <a:ext cx="1687721" cy="729531"/>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CuadroTexto 54"/>
              <p:cNvSpPr txBox="1"/>
              <p:nvPr/>
            </p:nvSpPr>
            <p:spPr>
              <a:xfrm>
                <a:off x="610274" y="1814052"/>
                <a:ext cx="1637605" cy="735740"/>
              </a:xfrm>
              <a:prstGeom prst="rect">
                <a:avLst/>
              </a:prstGeom>
              <a:noFill/>
            </p:spPr>
            <p:txBody>
              <a:bodyPr wrap="square" lIns="182880" tIns="146304" rIns="182880" bIns="146304" rtlCol="0">
                <a:spAutoFit/>
              </a:bodyPr>
              <a:lstStyle/>
              <a:p>
                <a:pPr>
                  <a:lnSpc>
                    <a:spcPct val="90000"/>
                  </a:lnSpc>
                  <a:spcAft>
                    <a:spcPts val="600"/>
                  </a:spcAft>
                </a:pPr>
                <a:r>
                  <a:rPr lang="es-ES" sz="2000" dirty="0"/>
                  <a:t>Cámara digital </a:t>
                </a:r>
                <a:r>
                  <a:rPr lang="es-ES" sz="2000" dirty="0">
                    <a:sym typeface="Wingdings" panose="05000000000000000000" pitchFamily="2" charset="2"/>
                  </a:rPr>
                  <a:t> </a:t>
                </a:r>
                <a:r>
                  <a:rPr lang="es-ES" sz="2000" dirty="0"/>
                  <a:t>Reorganizar en carpetas. Tiempo invertido</a:t>
                </a:r>
                <a:endParaRPr lang="es-ES" sz="2000" dirty="0" smtClean="0">
                  <a:gradFill>
                    <a:gsLst>
                      <a:gs pos="2917">
                        <a:schemeClr val="tx1"/>
                      </a:gs>
                      <a:gs pos="30000">
                        <a:schemeClr val="tx1"/>
                      </a:gs>
                    </a:gsLst>
                    <a:lin ang="5400000" scaled="0"/>
                  </a:gradFill>
                </a:endParaRPr>
              </a:p>
            </p:txBody>
          </p:sp>
        </p:grpSp>
        <p:pic>
          <p:nvPicPr>
            <p:cNvPr id="56" name="Imagen 55"/>
            <p:cNvPicPr>
              <a:picLocks noChangeAspect="1"/>
            </p:cNvPicPr>
            <p:nvPr/>
          </p:nvPicPr>
          <p:blipFill>
            <a:blip r:embed="rId4">
              <a:clrChange>
                <a:clrFrom>
                  <a:srgbClr val="FFFFFF"/>
                </a:clrFrom>
                <a:clrTo>
                  <a:srgbClr val="FFFFFF">
                    <a:alpha val="0"/>
                  </a:srgbClr>
                </a:clrTo>
              </a:clrChange>
            </a:blip>
            <a:stretch>
              <a:fillRect/>
            </a:stretch>
          </p:blipFill>
          <p:spPr>
            <a:xfrm>
              <a:off x="2970166" y="2364677"/>
              <a:ext cx="685704" cy="510849"/>
            </a:xfrm>
            <a:prstGeom prst="round2DiagRect">
              <a:avLst/>
            </a:prstGeom>
          </p:spPr>
        </p:pic>
      </p:grpSp>
    </p:spTree>
    <p:extLst>
      <p:ext uri="{BB962C8B-B14F-4D97-AF65-F5344CB8AC3E}">
        <p14:creationId xmlns:p14="http://schemas.microsoft.com/office/powerpoint/2010/main" val="25123047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1" presetClass="entr" presetSubtype="0" fill="hold" nodeType="afterEffect">
                                  <p:stCondLst>
                                    <p:cond delay="2000"/>
                                  </p:stCondLst>
                                  <p:childTnLst>
                                    <p:set>
                                      <p:cBhvr>
                                        <p:cTn id="12" dur="1" fill="hold">
                                          <p:stCondLst>
                                            <p:cond delay="0"/>
                                          </p:stCondLst>
                                        </p:cTn>
                                        <p:tgtEl>
                                          <p:spTgt spid="30"/>
                                        </p:tgtEl>
                                        <p:attrNameLst>
                                          <p:attrName>style.visibility</p:attrName>
                                        </p:attrNameLst>
                                      </p:cBhvr>
                                      <p:to>
                                        <p:strVal val="visible"/>
                                      </p:to>
                                    </p:set>
                                  </p:childTnLst>
                                </p:cTn>
                              </p:par>
                            </p:childTnLst>
                          </p:cTn>
                        </p:par>
                        <p:par>
                          <p:cTn id="13" fill="hold">
                            <p:stCondLst>
                              <p:cond delay="2500"/>
                            </p:stCondLst>
                            <p:childTnLst>
                              <p:par>
                                <p:cTn id="14" presetID="1" presetClass="entr" presetSubtype="0" fill="hold" nodeType="afterEffect">
                                  <p:stCondLst>
                                    <p:cond delay="5000"/>
                                  </p:stCondLst>
                                  <p:childTnLst>
                                    <p:set>
                                      <p:cBhvr>
                                        <p:cTn id="15" dur="1" fill="hold">
                                          <p:stCondLst>
                                            <p:cond delay="0"/>
                                          </p:stCondLst>
                                        </p:cTn>
                                        <p:tgtEl>
                                          <p:spTgt spid="2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p:cTn id="20" dur="500" fill="hold"/>
                                        <p:tgtEl>
                                          <p:spTgt spid="12"/>
                                        </p:tgtEl>
                                        <p:attrNameLst>
                                          <p:attrName>ppt_w</p:attrName>
                                        </p:attrNameLst>
                                      </p:cBhvr>
                                      <p:tavLst>
                                        <p:tav tm="0">
                                          <p:val>
                                            <p:fltVal val="0"/>
                                          </p:val>
                                        </p:tav>
                                        <p:tav tm="100000">
                                          <p:val>
                                            <p:strVal val="#ppt_w"/>
                                          </p:val>
                                        </p:tav>
                                      </p:tavLst>
                                    </p:anim>
                                    <p:anim calcmode="lin" valueType="num">
                                      <p:cBhvr>
                                        <p:cTn id="21" dur="500" fill="hold"/>
                                        <p:tgtEl>
                                          <p:spTgt spid="12"/>
                                        </p:tgtEl>
                                        <p:attrNameLst>
                                          <p:attrName>ppt_h</p:attrName>
                                        </p:attrNameLst>
                                      </p:cBhvr>
                                      <p:tavLst>
                                        <p:tav tm="0">
                                          <p:val>
                                            <p:fltVal val="0"/>
                                          </p:val>
                                        </p:tav>
                                        <p:tav tm="100000">
                                          <p:val>
                                            <p:strVal val="#ppt_h"/>
                                          </p:val>
                                        </p:tav>
                                      </p:tavLst>
                                    </p:anim>
                                    <p:animEffect transition="in" filter="fade">
                                      <p:cBhvr>
                                        <p:cTn id="22" dur="500"/>
                                        <p:tgtEl>
                                          <p:spTgt spid="12"/>
                                        </p:tgtEl>
                                      </p:cBhvr>
                                    </p:animEffect>
                                  </p:childTnLst>
                                </p:cTn>
                              </p:par>
                            </p:childTnLst>
                          </p:cTn>
                        </p:par>
                        <p:par>
                          <p:cTn id="23" fill="hold">
                            <p:stCondLst>
                              <p:cond delay="500"/>
                            </p:stCondLst>
                            <p:childTnLst>
                              <p:par>
                                <p:cTn id="24" presetID="1" presetClass="entr" presetSubtype="0" fill="hold" nodeType="afterEffect">
                                  <p:stCondLst>
                                    <p:cond delay="2000"/>
                                  </p:stCondLst>
                                  <p:childTnLst>
                                    <p:set>
                                      <p:cBhvr>
                                        <p:cTn id="25" dur="1" fill="hold">
                                          <p:stCondLst>
                                            <p:cond delay="0"/>
                                          </p:stCondLst>
                                        </p:cTn>
                                        <p:tgtEl>
                                          <p:spTgt spid="57"/>
                                        </p:tgtEl>
                                        <p:attrNameLst>
                                          <p:attrName>style.visibility</p:attrName>
                                        </p:attrNameLst>
                                      </p:cBhvr>
                                      <p:to>
                                        <p:strVal val="visible"/>
                                      </p:to>
                                    </p:set>
                                  </p:childTnLst>
                                </p:cTn>
                              </p:par>
                            </p:childTnLst>
                          </p:cTn>
                        </p:par>
                        <p:par>
                          <p:cTn id="26" fill="hold">
                            <p:stCondLst>
                              <p:cond delay="2500"/>
                            </p:stCondLst>
                            <p:childTnLst>
                              <p:par>
                                <p:cTn id="27" presetID="1" presetClass="entr" presetSubtype="0" fill="hold" nodeType="afterEffect">
                                  <p:stCondLst>
                                    <p:cond delay="5000"/>
                                  </p:stCondLst>
                                  <p:childTnLst>
                                    <p:set>
                                      <p:cBhvr>
                                        <p:cTn id="28" dur="1" fill="hold">
                                          <p:stCondLst>
                                            <p:cond delay="0"/>
                                          </p:stCondLst>
                                        </p:cTn>
                                        <p:tgtEl>
                                          <p:spTgt spid="3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p:cTn id="33" dur="500" fill="hold"/>
                                        <p:tgtEl>
                                          <p:spTgt spid="15"/>
                                        </p:tgtEl>
                                        <p:attrNameLst>
                                          <p:attrName>ppt_w</p:attrName>
                                        </p:attrNameLst>
                                      </p:cBhvr>
                                      <p:tavLst>
                                        <p:tav tm="0">
                                          <p:val>
                                            <p:fltVal val="0"/>
                                          </p:val>
                                        </p:tav>
                                        <p:tav tm="100000">
                                          <p:val>
                                            <p:strVal val="#ppt_w"/>
                                          </p:val>
                                        </p:tav>
                                      </p:tavLst>
                                    </p:anim>
                                    <p:anim calcmode="lin" valueType="num">
                                      <p:cBhvr>
                                        <p:cTn id="34" dur="500" fill="hold"/>
                                        <p:tgtEl>
                                          <p:spTgt spid="15"/>
                                        </p:tgtEl>
                                        <p:attrNameLst>
                                          <p:attrName>ppt_h</p:attrName>
                                        </p:attrNameLst>
                                      </p:cBhvr>
                                      <p:tavLst>
                                        <p:tav tm="0">
                                          <p:val>
                                            <p:fltVal val="0"/>
                                          </p:val>
                                        </p:tav>
                                        <p:tav tm="100000">
                                          <p:val>
                                            <p:strVal val="#ppt_h"/>
                                          </p:val>
                                        </p:tav>
                                      </p:tavLst>
                                    </p:anim>
                                    <p:animEffect transition="in" filter="fade">
                                      <p:cBhvr>
                                        <p:cTn id="35" dur="500"/>
                                        <p:tgtEl>
                                          <p:spTgt spid="15"/>
                                        </p:tgtEl>
                                      </p:cBhvr>
                                    </p:animEffect>
                                  </p:childTnLst>
                                </p:cTn>
                              </p:par>
                            </p:childTnLst>
                          </p:cTn>
                        </p:par>
                        <p:par>
                          <p:cTn id="36" fill="hold">
                            <p:stCondLst>
                              <p:cond delay="500"/>
                            </p:stCondLst>
                            <p:childTnLst>
                              <p:par>
                                <p:cTn id="37" presetID="1" presetClass="entr" presetSubtype="0" fill="hold" nodeType="afterEffect">
                                  <p:stCondLst>
                                    <p:cond delay="2000"/>
                                  </p:stCondLst>
                                  <p:childTnLst>
                                    <p:set>
                                      <p:cBhvr>
                                        <p:cTn id="38" dur="1" fill="hold">
                                          <p:stCondLst>
                                            <p:cond delay="0"/>
                                          </p:stCondLst>
                                        </p:cTn>
                                        <p:tgtEl>
                                          <p:spTgt spid="58"/>
                                        </p:tgtEl>
                                        <p:attrNameLst>
                                          <p:attrName>style.visibility</p:attrName>
                                        </p:attrNameLst>
                                      </p:cBhvr>
                                      <p:to>
                                        <p:strVal val="visible"/>
                                      </p:to>
                                    </p:set>
                                  </p:childTnLst>
                                </p:cTn>
                              </p:par>
                            </p:childTnLst>
                          </p:cTn>
                        </p:par>
                        <p:par>
                          <p:cTn id="39" fill="hold">
                            <p:stCondLst>
                              <p:cond delay="2500"/>
                            </p:stCondLst>
                            <p:childTnLst>
                              <p:par>
                                <p:cTn id="40" presetID="1" presetClass="entr" presetSubtype="0" fill="hold" nodeType="afterEffect">
                                  <p:stCondLst>
                                    <p:cond delay="5000"/>
                                  </p:stCondLst>
                                  <p:childTnLst>
                                    <p:set>
                                      <p:cBhvr>
                                        <p:cTn id="41" dur="1" fill="hold">
                                          <p:stCondLst>
                                            <p:cond delay="0"/>
                                          </p:stCondLst>
                                        </p:cTn>
                                        <p:tgtEl>
                                          <p:spTgt spid="44"/>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8"/>
                                        </p:tgtEl>
                                        <p:attrNameLst>
                                          <p:attrName>style.visibility</p:attrName>
                                        </p:attrNameLst>
                                      </p:cBhvr>
                                      <p:to>
                                        <p:strVal val="visible"/>
                                      </p:to>
                                    </p:set>
                                    <p:anim calcmode="lin" valueType="num">
                                      <p:cBhvr>
                                        <p:cTn id="46" dur="500" fill="hold"/>
                                        <p:tgtEl>
                                          <p:spTgt spid="18"/>
                                        </p:tgtEl>
                                        <p:attrNameLst>
                                          <p:attrName>ppt_w</p:attrName>
                                        </p:attrNameLst>
                                      </p:cBhvr>
                                      <p:tavLst>
                                        <p:tav tm="0">
                                          <p:val>
                                            <p:fltVal val="0"/>
                                          </p:val>
                                        </p:tav>
                                        <p:tav tm="100000">
                                          <p:val>
                                            <p:strVal val="#ppt_w"/>
                                          </p:val>
                                        </p:tav>
                                      </p:tavLst>
                                    </p:anim>
                                    <p:anim calcmode="lin" valueType="num">
                                      <p:cBhvr>
                                        <p:cTn id="47" dur="500" fill="hold"/>
                                        <p:tgtEl>
                                          <p:spTgt spid="18"/>
                                        </p:tgtEl>
                                        <p:attrNameLst>
                                          <p:attrName>ppt_h</p:attrName>
                                        </p:attrNameLst>
                                      </p:cBhvr>
                                      <p:tavLst>
                                        <p:tav tm="0">
                                          <p:val>
                                            <p:fltVal val="0"/>
                                          </p:val>
                                        </p:tav>
                                        <p:tav tm="100000">
                                          <p:val>
                                            <p:strVal val="#ppt_h"/>
                                          </p:val>
                                        </p:tav>
                                      </p:tavLst>
                                    </p:anim>
                                    <p:animEffect transition="in" filter="fade">
                                      <p:cBhvr>
                                        <p:cTn id="48" dur="500"/>
                                        <p:tgtEl>
                                          <p:spTgt spid="18"/>
                                        </p:tgtEl>
                                      </p:cBhvr>
                                    </p:animEffect>
                                  </p:childTnLst>
                                </p:cTn>
                              </p:par>
                            </p:childTnLst>
                          </p:cTn>
                        </p:par>
                        <p:par>
                          <p:cTn id="49" fill="hold">
                            <p:stCondLst>
                              <p:cond delay="500"/>
                            </p:stCondLst>
                            <p:childTnLst>
                              <p:par>
                                <p:cTn id="50" presetID="1" presetClass="entr" presetSubtype="0" fill="hold" nodeType="afterEffect">
                                  <p:stCondLst>
                                    <p:cond delay="2000"/>
                                  </p:stCondLst>
                                  <p:childTnLst>
                                    <p:set>
                                      <p:cBhvr>
                                        <p:cTn id="51" dur="1" fill="hold">
                                          <p:stCondLst>
                                            <p:cond delay="0"/>
                                          </p:stCondLst>
                                        </p:cTn>
                                        <p:tgtEl>
                                          <p:spTgt spid="59"/>
                                        </p:tgtEl>
                                        <p:attrNameLst>
                                          <p:attrName>style.visibility</p:attrName>
                                        </p:attrNameLst>
                                      </p:cBhvr>
                                      <p:to>
                                        <p:strVal val="visible"/>
                                      </p:to>
                                    </p:set>
                                  </p:childTnLst>
                                </p:cTn>
                              </p:par>
                            </p:childTnLst>
                          </p:cTn>
                        </p:par>
                        <p:par>
                          <p:cTn id="52" fill="hold">
                            <p:stCondLst>
                              <p:cond delay="2500"/>
                            </p:stCondLst>
                            <p:childTnLst>
                              <p:par>
                                <p:cTn id="53" presetID="1" presetClass="entr" presetSubtype="0" fill="hold" nodeType="afterEffect">
                                  <p:stCondLst>
                                    <p:cond delay="5000"/>
                                  </p:stCondLst>
                                  <p:childTnLst>
                                    <p:set>
                                      <p:cBhvr>
                                        <p:cTn id="54"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1"/>
          </p:nvPr>
        </p:nvSpPr>
        <p:spPr/>
        <p:txBody>
          <a:bodyPr/>
          <a:lstStyle/>
          <a:p>
            <a:pPr defTabSz="932563"/>
            <a:fld id="{27258FFF-F925-446B-8502-81C933981705}" type="slidenum">
              <a:rPr lang="en-US" smtClean="0">
                <a:solidFill>
                  <a:srgbClr val="505050"/>
                </a:solidFill>
              </a:rPr>
              <a:pPr defTabSz="932563"/>
              <a:t>14</a:t>
            </a:fld>
            <a:endParaRPr lang="en-US" dirty="0">
              <a:solidFill>
                <a:srgbClr val="505050"/>
              </a:solidFill>
            </a:endParaRPr>
          </a:p>
        </p:txBody>
      </p:sp>
      <p:sp>
        <p:nvSpPr>
          <p:cNvPr id="6" name="Título 1"/>
          <p:cNvSpPr>
            <a:spLocks noGrp="1"/>
          </p:cNvSpPr>
          <p:nvPr>
            <p:ph type="title"/>
          </p:nvPr>
        </p:nvSpPr>
        <p:spPr>
          <a:xfrm>
            <a:off x="585216" y="264964"/>
            <a:ext cx="11226195" cy="1097302"/>
          </a:xfrm>
        </p:spPr>
        <p:txBody>
          <a:bodyPr/>
          <a:lstStyle/>
          <a:p>
            <a:r>
              <a:rPr lang="es-ES" dirty="0"/>
              <a:t>R-</a:t>
            </a:r>
            <a:r>
              <a:rPr lang="es-ES" b="1" dirty="0">
                <a:solidFill>
                  <a:schemeClr val="accent1">
                    <a:lumMod val="75000"/>
                  </a:schemeClr>
                </a:solidFill>
                <a:effectLst>
                  <a:outerShdw blurRad="38100" dist="38100" dir="2700000" algn="tl">
                    <a:srgbClr val="000000">
                      <a:alpha val="43137"/>
                    </a:srgbClr>
                  </a:outerShdw>
                </a:effectLst>
              </a:rPr>
              <a:t>SOLID</a:t>
            </a:r>
          </a:p>
        </p:txBody>
      </p:sp>
      <p:grpSp>
        <p:nvGrpSpPr>
          <p:cNvPr id="8" name="Grupo 7"/>
          <p:cNvGrpSpPr/>
          <p:nvPr/>
        </p:nvGrpSpPr>
        <p:grpSpPr>
          <a:xfrm>
            <a:off x="1114803" y="655321"/>
            <a:ext cx="9265814" cy="5910071"/>
            <a:chOff x="2072746" y="792480"/>
            <a:chExt cx="9265814" cy="5910071"/>
          </a:xfrm>
        </p:grpSpPr>
        <p:graphicFrame>
          <p:nvGraphicFramePr>
            <p:cNvPr id="5" name="Diagrama 4"/>
            <p:cNvGraphicFramePr/>
            <p:nvPr>
              <p:extLst>
                <p:ext uri="{D42A27DB-BD31-4B8C-83A1-F6EECF244321}">
                  <p14:modId xmlns:p14="http://schemas.microsoft.com/office/powerpoint/2010/main" val="188129804"/>
                </p:ext>
              </p:extLst>
            </p:nvPr>
          </p:nvGraphicFramePr>
          <p:xfrm>
            <a:off x="2072746" y="792480"/>
            <a:ext cx="9265814" cy="59100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1 Flecha curvada hacia arriba"/>
            <p:cNvSpPr/>
            <p:nvPr/>
          </p:nvSpPr>
          <p:spPr bwMode="auto">
            <a:xfrm rot="16200000">
              <a:off x="6134628" y="2749349"/>
              <a:ext cx="5493259" cy="1792224"/>
            </a:xfrm>
            <a:prstGeom prst="curvedUp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83341187"/>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a:t>R-</a:t>
            </a:r>
            <a:r>
              <a:rPr lang="es-ES" b="1" dirty="0">
                <a:solidFill>
                  <a:schemeClr val="accent1">
                    <a:lumMod val="75000"/>
                  </a:schemeClr>
                </a:solidFill>
                <a:effectLst>
                  <a:outerShdw blurRad="38100" dist="38100" dir="2700000" algn="tl">
                    <a:srgbClr val="000000">
                      <a:alpha val="43137"/>
                    </a:srgbClr>
                  </a:outerShdw>
                </a:effectLst>
              </a:rPr>
              <a:t>SOLID – Fase 4</a:t>
            </a:r>
          </a:p>
        </p:txBody>
      </p:sp>
      <p:pic>
        <p:nvPicPr>
          <p:cNvPr id="239621"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r="6959"/>
          <a:stretch/>
        </p:blipFill>
        <p:spPr bwMode="auto">
          <a:xfrm>
            <a:off x="3108552" y="2311427"/>
            <a:ext cx="2909799" cy="4417604"/>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chemeClr val="accent1"/>
                </a:solidFill>
              </a14:hiddenFill>
            </a:ext>
          </a:extLst>
        </p:spPr>
      </p:pic>
      <p:pic>
        <p:nvPicPr>
          <p:cNvPr id="239622" name="Picture 6"/>
          <p:cNvPicPr>
            <a:picLocks noChangeAspect="1" noChangeArrowheads="1"/>
          </p:cNvPicPr>
          <p:nvPr/>
        </p:nvPicPr>
        <p:blipFill rotWithShape="1">
          <a:blip r:embed="rId5">
            <a:extLst>
              <a:ext uri="{28A0092B-C50C-407E-A947-70E740481C1C}">
                <a14:useLocalDpi xmlns:a14="http://schemas.microsoft.com/office/drawing/2010/main" val="0"/>
              </a:ext>
            </a:extLst>
          </a:blip>
          <a:srcRect r="20596"/>
          <a:stretch/>
        </p:blipFill>
        <p:spPr bwMode="auto">
          <a:xfrm>
            <a:off x="9700605" y="2299704"/>
            <a:ext cx="2457132" cy="3930785"/>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chemeClr val="accent1"/>
                </a:solidFill>
              </a14:hiddenFill>
            </a:ext>
          </a:extLst>
        </p:spPr>
      </p:pic>
      <p:pic>
        <p:nvPicPr>
          <p:cNvPr id="239623"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77296" y="2299704"/>
            <a:ext cx="2496593" cy="1033621"/>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chemeClr val="accent1"/>
                </a:solidFill>
              </a14:hiddenFill>
            </a:ext>
          </a:extLst>
        </p:spPr>
      </p:pic>
      <p:pic>
        <p:nvPicPr>
          <p:cNvPr id="239624" name="Picture 8"/>
          <p:cNvPicPr>
            <a:picLocks noChangeAspect="1" noChangeArrowheads="1"/>
          </p:cNvPicPr>
          <p:nvPr/>
        </p:nvPicPr>
        <p:blipFill rotWithShape="1">
          <a:blip r:embed="rId7">
            <a:extLst>
              <a:ext uri="{28A0092B-C50C-407E-A947-70E740481C1C}">
                <a14:useLocalDpi xmlns:a14="http://schemas.microsoft.com/office/drawing/2010/main" val="0"/>
              </a:ext>
            </a:extLst>
          </a:blip>
          <a:srcRect t="1449"/>
          <a:stretch/>
        </p:blipFill>
        <p:spPr bwMode="auto">
          <a:xfrm>
            <a:off x="521876" y="2159028"/>
            <a:ext cx="2266950" cy="4665319"/>
          </a:xfrm>
          <a:prstGeom prst="rect">
            <a:avLst/>
          </a:prstGeom>
          <a:ln w="28575" cap="rnd">
            <a:solidFill>
              <a:schemeClr val="tx1"/>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chemeClr val="accent1"/>
                </a:solidFill>
              </a14:hiddenFill>
            </a:ext>
          </a:extLst>
        </p:spPr>
      </p:pic>
      <p:grpSp>
        <p:nvGrpSpPr>
          <p:cNvPr id="3" name="Grupo 2"/>
          <p:cNvGrpSpPr/>
          <p:nvPr/>
        </p:nvGrpSpPr>
        <p:grpSpPr>
          <a:xfrm>
            <a:off x="585216" y="1221627"/>
            <a:ext cx="4746913" cy="583727"/>
            <a:chOff x="656234" y="1239045"/>
            <a:chExt cx="4746913" cy="720000"/>
          </a:xfrm>
        </p:grpSpPr>
        <p:sp>
          <p:nvSpPr>
            <p:cNvPr id="8" name="Rectángulo redondeado 7"/>
            <p:cNvSpPr/>
            <p:nvPr/>
          </p:nvSpPr>
          <p:spPr bwMode="auto">
            <a:xfrm>
              <a:off x="656234" y="1239045"/>
              <a:ext cx="4363890" cy="720000"/>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CuadroTexto 8"/>
            <p:cNvSpPr txBox="1"/>
            <p:nvPr/>
          </p:nvSpPr>
          <p:spPr>
            <a:xfrm>
              <a:off x="768557" y="1239045"/>
              <a:ext cx="4634590" cy="664797"/>
            </a:xfrm>
            <a:prstGeom prst="rect">
              <a:avLst/>
            </a:prstGeom>
            <a:noFill/>
          </p:spPr>
          <p:txBody>
            <a:bodyPr wrap="square" lIns="182880" tIns="146304" rIns="182880" bIns="146304" rtlCol="0" anchor="ctr">
              <a:spAutoFit/>
            </a:bodyPr>
            <a:lstStyle/>
            <a:p>
              <a:r>
                <a:rPr lang="es-ES" dirty="0" smtClean="0"/>
                <a:t>FASE </a:t>
              </a:r>
              <a:r>
                <a:rPr lang="es-ES" dirty="0"/>
                <a:t>4.- GUIAS NO REGLAS </a:t>
              </a:r>
            </a:p>
          </p:txBody>
        </p:sp>
      </p:grpSp>
      <p:pic>
        <p:nvPicPr>
          <p:cNvPr id="7" name="Imagen 6"/>
          <p:cNvPicPr>
            <a:picLocks noChangeAspect="1"/>
          </p:cNvPicPr>
          <p:nvPr/>
        </p:nvPicPr>
        <p:blipFill>
          <a:blip r:embed="rId8">
            <a:clrChange>
              <a:clrFrom>
                <a:srgbClr val="FFFFFF"/>
              </a:clrFrom>
              <a:clrTo>
                <a:srgbClr val="FFFFFF">
                  <a:alpha val="0"/>
                </a:srgbClr>
              </a:clrTo>
            </a:clrChange>
          </a:blip>
          <a:stretch>
            <a:fillRect/>
          </a:stretch>
        </p:blipFill>
        <p:spPr>
          <a:xfrm>
            <a:off x="1994886" y="4118542"/>
            <a:ext cx="656134" cy="820167"/>
          </a:xfrm>
          <a:prstGeom prst="rect">
            <a:avLst/>
          </a:prstGeom>
        </p:spPr>
      </p:pic>
      <p:pic>
        <p:nvPicPr>
          <p:cNvPr id="15" name="Imagen 14"/>
          <p:cNvPicPr>
            <a:picLocks noChangeAspect="1"/>
          </p:cNvPicPr>
          <p:nvPr/>
        </p:nvPicPr>
        <p:blipFill>
          <a:blip r:embed="rId8">
            <a:clrChange>
              <a:clrFrom>
                <a:srgbClr val="FFFFFF"/>
              </a:clrFrom>
              <a:clrTo>
                <a:srgbClr val="FFFFFF">
                  <a:alpha val="0"/>
                </a:srgbClr>
              </a:clrTo>
            </a:clrChange>
          </a:blip>
          <a:stretch>
            <a:fillRect/>
          </a:stretch>
        </p:blipFill>
        <p:spPr>
          <a:xfrm>
            <a:off x="6142879" y="4860862"/>
            <a:ext cx="656134" cy="820167"/>
          </a:xfrm>
          <a:prstGeom prst="rect">
            <a:avLst/>
          </a:prstGeom>
        </p:spPr>
      </p:pic>
      <p:pic>
        <p:nvPicPr>
          <p:cNvPr id="16" name="Imagen 15"/>
          <p:cNvPicPr>
            <a:picLocks noChangeAspect="1"/>
          </p:cNvPicPr>
          <p:nvPr/>
        </p:nvPicPr>
        <p:blipFill>
          <a:blip r:embed="rId8">
            <a:clrChange>
              <a:clrFrom>
                <a:srgbClr val="FFFFFF"/>
              </a:clrFrom>
              <a:clrTo>
                <a:srgbClr val="FFFFFF">
                  <a:alpha val="0"/>
                </a:srgbClr>
              </a:clrTo>
            </a:clrChange>
          </a:blip>
          <a:stretch>
            <a:fillRect/>
          </a:stretch>
        </p:blipFill>
        <p:spPr>
          <a:xfrm>
            <a:off x="9000314" y="2816514"/>
            <a:ext cx="573865" cy="717331"/>
          </a:xfrm>
          <a:prstGeom prst="rect">
            <a:avLst/>
          </a:prstGeom>
        </p:spPr>
      </p:pic>
    </p:spTree>
    <p:extLst>
      <p:ext uri="{BB962C8B-B14F-4D97-AF65-F5344CB8AC3E}">
        <p14:creationId xmlns:p14="http://schemas.microsoft.com/office/powerpoint/2010/main" val="358348091"/>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96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96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96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a:t>R-</a:t>
            </a:r>
            <a:r>
              <a:rPr lang="es-ES" b="1" dirty="0">
                <a:solidFill>
                  <a:schemeClr val="accent1">
                    <a:lumMod val="75000"/>
                  </a:schemeClr>
                </a:solidFill>
                <a:effectLst>
                  <a:outerShdw blurRad="38100" dist="38100" dir="2700000" algn="tl">
                    <a:srgbClr val="000000">
                      <a:alpha val="43137"/>
                    </a:srgbClr>
                  </a:outerShdw>
                </a:effectLst>
              </a:rPr>
              <a:t>SOLID </a:t>
            </a:r>
            <a:r>
              <a:rPr lang="es-ES" b="1" dirty="0" smtClean="0">
                <a:solidFill>
                  <a:schemeClr val="accent1">
                    <a:lumMod val="75000"/>
                  </a:schemeClr>
                </a:solidFill>
                <a:effectLst>
                  <a:outerShdw blurRad="38100" dist="38100" dir="2700000" algn="tl">
                    <a:srgbClr val="000000">
                      <a:alpha val="43137"/>
                    </a:srgbClr>
                  </a:outerShdw>
                </a:effectLst>
              </a:rPr>
              <a:t>– Fase 4 - Varios</a:t>
            </a:r>
            <a:endParaRPr lang="es-ES" b="1" dirty="0">
              <a:solidFill>
                <a:schemeClr val="accent1">
                  <a:lumMod val="75000"/>
                </a:schemeClr>
              </a:solidFill>
              <a:effectLst>
                <a:outerShdw blurRad="38100" dist="38100" dir="2700000" algn="tl">
                  <a:srgbClr val="000000">
                    <a:alpha val="43137"/>
                  </a:srgbClr>
                </a:outerShdw>
              </a:effectLst>
            </a:endParaRPr>
          </a:p>
        </p:txBody>
      </p:sp>
      <p:pic>
        <p:nvPicPr>
          <p:cNvPr id="2406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2889" y="2169094"/>
            <a:ext cx="3076575" cy="1381125"/>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chemeClr val="accent1"/>
                </a:solidFill>
              </a14:hiddenFill>
            </a:ext>
          </a:extLst>
        </p:spPr>
      </p:pic>
      <p:pic>
        <p:nvPicPr>
          <p:cNvPr id="1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3350"/>
          <a:stretch/>
        </p:blipFill>
        <p:spPr bwMode="auto">
          <a:xfrm>
            <a:off x="1430205" y="2089838"/>
            <a:ext cx="2409825" cy="4455637"/>
          </a:xfrm>
          <a:prstGeom prst="rect">
            <a:avLst/>
          </a:prstGeom>
          <a:ln w="28575" cap="rnd">
            <a:solidFill>
              <a:schemeClr val="tx1"/>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chemeClr val="accent1"/>
                </a:solidFill>
              </a14:hiddenFill>
            </a:ext>
          </a:extLst>
        </p:spPr>
      </p:pic>
      <p:pic>
        <p:nvPicPr>
          <p:cNvPr id="1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4996" y="2169094"/>
            <a:ext cx="2305050" cy="1295400"/>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chemeClr val="accent1"/>
                </a:solidFill>
              </a14:hiddenFill>
            </a:ext>
          </a:extLst>
        </p:spPr>
      </p:pic>
      <p:pic>
        <p:nvPicPr>
          <p:cNvPr id="9" name="Imagen 8"/>
          <p:cNvPicPr>
            <a:picLocks noChangeAspect="1"/>
          </p:cNvPicPr>
          <p:nvPr/>
        </p:nvPicPr>
        <p:blipFill>
          <a:blip r:embed="rId6">
            <a:clrChange>
              <a:clrFrom>
                <a:srgbClr val="FFFFFF"/>
              </a:clrFrom>
              <a:clrTo>
                <a:srgbClr val="FFFFFF">
                  <a:alpha val="0"/>
                </a:srgbClr>
              </a:clrTo>
            </a:clrChange>
          </a:blip>
          <a:stretch>
            <a:fillRect/>
          </a:stretch>
        </p:blipFill>
        <p:spPr>
          <a:xfrm>
            <a:off x="3918862" y="5725308"/>
            <a:ext cx="656134" cy="820167"/>
          </a:xfrm>
          <a:prstGeom prst="rect">
            <a:avLst/>
          </a:prstGeom>
        </p:spPr>
      </p:pic>
      <p:pic>
        <p:nvPicPr>
          <p:cNvPr id="10" name="Imagen 9"/>
          <p:cNvPicPr>
            <a:picLocks noChangeAspect="1"/>
          </p:cNvPicPr>
          <p:nvPr/>
        </p:nvPicPr>
        <p:blipFill>
          <a:blip r:embed="rId6">
            <a:clrChange>
              <a:clrFrom>
                <a:srgbClr val="FFFFFF"/>
              </a:clrFrom>
              <a:clrTo>
                <a:srgbClr val="FFFFFF">
                  <a:alpha val="0"/>
                </a:srgbClr>
              </a:clrTo>
            </a:clrChange>
          </a:blip>
          <a:stretch>
            <a:fillRect/>
          </a:stretch>
        </p:blipFill>
        <p:spPr>
          <a:xfrm>
            <a:off x="7060346" y="2816794"/>
            <a:ext cx="656134" cy="820167"/>
          </a:xfrm>
          <a:prstGeom prst="rect">
            <a:avLst/>
          </a:prstGeom>
        </p:spPr>
      </p:pic>
      <p:grpSp>
        <p:nvGrpSpPr>
          <p:cNvPr id="11" name="Grupo 10"/>
          <p:cNvGrpSpPr/>
          <p:nvPr/>
        </p:nvGrpSpPr>
        <p:grpSpPr>
          <a:xfrm>
            <a:off x="585216" y="1221627"/>
            <a:ext cx="4746913" cy="583727"/>
            <a:chOff x="656234" y="1239045"/>
            <a:chExt cx="4746913" cy="720000"/>
          </a:xfrm>
        </p:grpSpPr>
        <p:sp>
          <p:nvSpPr>
            <p:cNvPr id="17" name="Rectángulo redondeado 16"/>
            <p:cNvSpPr/>
            <p:nvPr/>
          </p:nvSpPr>
          <p:spPr bwMode="auto">
            <a:xfrm>
              <a:off x="656234" y="1239045"/>
              <a:ext cx="4363890" cy="720000"/>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CuadroTexto 17"/>
            <p:cNvSpPr txBox="1"/>
            <p:nvPr/>
          </p:nvSpPr>
          <p:spPr>
            <a:xfrm>
              <a:off x="768557" y="1239045"/>
              <a:ext cx="4634590" cy="664797"/>
            </a:xfrm>
            <a:prstGeom prst="rect">
              <a:avLst/>
            </a:prstGeom>
            <a:noFill/>
          </p:spPr>
          <p:txBody>
            <a:bodyPr wrap="square" lIns="182880" tIns="146304" rIns="182880" bIns="146304" rtlCol="0" anchor="ctr">
              <a:spAutoFit/>
            </a:bodyPr>
            <a:lstStyle/>
            <a:p>
              <a:r>
                <a:rPr lang="es-ES" dirty="0" smtClean="0"/>
                <a:t>FASE </a:t>
              </a:r>
              <a:r>
                <a:rPr lang="es-ES" dirty="0"/>
                <a:t>4.- GUIAS NO REGLAS </a:t>
              </a:r>
            </a:p>
          </p:txBody>
        </p:sp>
      </p:grpSp>
    </p:spTree>
    <p:extLst>
      <p:ext uri="{BB962C8B-B14F-4D97-AF65-F5344CB8AC3E}">
        <p14:creationId xmlns:p14="http://schemas.microsoft.com/office/powerpoint/2010/main" val="122977454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064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a:t>R-</a:t>
            </a:r>
            <a:r>
              <a:rPr lang="es-ES" b="1" dirty="0">
                <a:solidFill>
                  <a:schemeClr val="accent1">
                    <a:lumMod val="75000"/>
                  </a:schemeClr>
                </a:solidFill>
                <a:effectLst>
                  <a:outerShdw blurRad="38100" dist="38100" dir="2700000" algn="tl">
                    <a:srgbClr val="000000">
                      <a:alpha val="43137"/>
                    </a:srgbClr>
                  </a:outerShdw>
                </a:effectLst>
              </a:rPr>
              <a:t>SOLID </a:t>
            </a:r>
            <a:r>
              <a:rPr lang="es-ES" b="1" dirty="0" smtClean="0">
                <a:solidFill>
                  <a:schemeClr val="accent1">
                    <a:lumMod val="75000"/>
                  </a:schemeClr>
                </a:solidFill>
                <a:effectLst>
                  <a:outerShdw blurRad="38100" dist="38100" dir="2700000" algn="tl">
                    <a:srgbClr val="000000">
                      <a:alpha val="43137"/>
                    </a:srgbClr>
                  </a:outerShdw>
                </a:effectLst>
              </a:rPr>
              <a:t>– Ejemplo </a:t>
            </a:r>
            <a:r>
              <a:rPr lang="es-ES" b="1" dirty="0" err="1" smtClean="0">
                <a:solidFill>
                  <a:schemeClr val="accent1">
                    <a:lumMod val="75000"/>
                  </a:schemeClr>
                </a:solidFill>
                <a:effectLst>
                  <a:outerShdw blurRad="38100" dist="38100" dir="2700000" algn="tl">
                    <a:srgbClr val="000000">
                      <a:alpha val="43137"/>
                    </a:srgbClr>
                  </a:outerShdw>
                </a:effectLst>
              </a:rPr>
              <a:t>solution</a:t>
            </a:r>
            <a:endParaRPr lang="es-ES" b="1" dirty="0">
              <a:solidFill>
                <a:schemeClr val="accent1">
                  <a:lumMod val="75000"/>
                </a:schemeClr>
              </a:solidFill>
              <a:effectLst>
                <a:outerShdw blurRad="38100" dist="38100" dir="2700000" algn="tl">
                  <a:srgbClr val="000000">
                    <a:alpha val="43137"/>
                  </a:srgbClr>
                </a:outerShdw>
              </a:effectLst>
            </a:endParaRPr>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9056" b="1153"/>
          <a:stretch/>
        </p:blipFill>
        <p:spPr bwMode="auto">
          <a:xfrm>
            <a:off x="6925904" y="1841276"/>
            <a:ext cx="4186600" cy="3654750"/>
          </a:xfrm>
          <a:prstGeom prst="round2DiagRect">
            <a:avLst>
              <a:gd name="adj1" fmla="val 16667"/>
              <a:gd name="adj2" fmla="val 0"/>
            </a:avLst>
          </a:prstGeom>
          <a:ln w="9525">
            <a:solidFill>
              <a:schemeClr val="tx1"/>
            </a:solidFill>
            <a:miter lim="800000"/>
            <a:headEnd/>
            <a:tailEnd/>
          </a:ln>
          <a:effectLst>
            <a:outerShdw blurRad="4445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10" name="Flecha derecha 9"/>
          <p:cNvSpPr/>
          <p:nvPr/>
        </p:nvSpPr>
        <p:spPr bwMode="auto">
          <a:xfrm>
            <a:off x="5146431" y="3258007"/>
            <a:ext cx="1418493" cy="821287"/>
          </a:xfrm>
          <a:prstGeom prst="right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solidFill>
              <a:schemeClr val="tx1">
                <a:lumMod val="95000"/>
                <a:lumOff val="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25904" y="3297401"/>
            <a:ext cx="3282133" cy="719545"/>
          </a:xfrm>
          <a:prstGeom prst="round2DiagRect">
            <a:avLst>
              <a:gd name="adj1" fmla="val 16667"/>
              <a:gd name="adj2" fmla="val 0"/>
            </a:avLst>
          </a:prstGeom>
          <a:ln w="9525">
            <a:solidFill>
              <a:schemeClr val="tx1"/>
            </a:solidFill>
            <a:miter lim="800000"/>
            <a:headEnd/>
            <a:tailEnd/>
          </a:ln>
          <a:effectLst>
            <a:outerShdw blurRad="254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16"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25904" y="2443632"/>
            <a:ext cx="3860253" cy="2220808"/>
          </a:xfrm>
          <a:prstGeom prst="round2DiagRect">
            <a:avLst>
              <a:gd name="adj1" fmla="val 16667"/>
              <a:gd name="adj2" fmla="val 0"/>
            </a:avLst>
          </a:prstGeom>
          <a:ln w="9525">
            <a:solidFill>
              <a:schemeClr val="tx1"/>
            </a:solidFill>
            <a:miter lim="800000"/>
            <a:headEnd/>
            <a:tailEnd/>
          </a:ln>
          <a:effectLst>
            <a:outerShdw blurRad="4445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17" name="Imagen 16"/>
          <p:cNvPicPr>
            <a:picLocks noChangeAspect="1"/>
          </p:cNvPicPr>
          <p:nvPr/>
        </p:nvPicPr>
        <p:blipFill>
          <a:blip r:embed="rId6"/>
          <a:stretch>
            <a:fillRect/>
          </a:stretch>
        </p:blipFill>
        <p:spPr>
          <a:xfrm>
            <a:off x="6925904" y="1207461"/>
            <a:ext cx="3047160" cy="5223702"/>
          </a:xfrm>
          <a:prstGeom prst="round2DiagRect">
            <a:avLst>
              <a:gd name="adj1" fmla="val 16667"/>
              <a:gd name="adj2" fmla="val 0"/>
            </a:avLst>
          </a:prstGeom>
          <a:ln w="12700" cap="sq">
            <a:solidFill>
              <a:schemeClr val="tx1"/>
            </a:solidFill>
            <a:miter lim="800000"/>
          </a:ln>
          <a:effectLst>
            <a:outerShdw blurRad="444500" algn="tl" rotWithShape="0">
              <a:srgbClr val="000000">
                <a:alpha val="43000"/>
              </a:srgbClr>
            </a:outerShdw>
          </a:effectLst>
        </p:spPr>
      </p:pic>
      <p:pic>
        <p:nvPicPr>
          <p:cNvPr id="18"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25904" y="3128535"/>
            <a:ext cx="3124200" cy="1057275"/>
          </a:xfrm>
          <a:prstGeom prst="round2DiagRect">
            <a:avLst>
              <a:gd name="adj1" fmla="val 16667"/>
              <a:gd name="adj2" fmla="val 0"/>
            </a:avLst>
          </a:prstGeom>
          <a:ln w="9525">
            <a:solidFill>
              <a:schemeClr val="tx1"/>
            </a:solidFill>
            <a:miter lim="800000"/>
            <a:headEnd/>
            <a:tailEnd/>
          </a:ln>
          <a:effectLst>
            <a:outerShdw blurRad="254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19" name="Picture 9"/>
          <p:cNvPicPr>
            <a:picLocks noChangeAspect="1" noChangeArrowheads="1"/>
          </p:cNvPicPr>
          <p:nvPr/>
        </p:nvPicPr>
        <p:blipFill rotWithShape="1">
          <a:blip r:embed="rId8">
            <a:extLst>
              <a:ext uri="{28A0092B-C50C-407E-A947-70E740481C1C}">
                <a14:useLocalDpi xmlns:a14="http://schemas.microsoft.com/office/drawing/2010/main" val="0"/>
              </a:ext>
            </a:extLst>
          </a:blip>
          <a:srcRect t="1103"/>
          <a:stretch/>
        </p:blipFill>
        <p:spPr bwMode="auto">
          <a:xfrm>
            <a:off x="6925904" y="2592719"/>
            <a:ext cx="5045341" cy="2414710"/>
          </a:xfrm>
          <a:prstGeom prst="round2DiagRect">
            <a:avLst>
              <a:gd name="adj1" fmla="val 16667"/>
              <a:gd name="adj2" fmla="val 0"/>
            </a:avLst>
          </a:prstGeom>
          <a:ln w="9525">
            <a:solidFill>
              <a:schemeClr val="tx1"/>
            </a:solidFill>
            <a:miter lim="800000"/>
            <a:headEnd/>
            <a:tailEnd/>
          </a:ln>
          <a:effectLst>
            <a:outerShdw blurRad="254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7" name="Imagen 6"/>
          <p:cNvPicPr>
            <a:picLocks noChangeAspect="1"/>
          </p:cNvPicPr>
          <p:nvPr/>
        </p:nvPicPr>
        <p:blipFill>
          <a:blip r:embed="rId9"/>
          <a:stretch>
            <a:fillRect/>
          </a:stretch>
        </p:blipFill>
        <p:spPr>
          <a:xfrm>
            <a:off x="798238" y="2605981"/>
            <a:ext cx="4114017" cy="2440177"/>
          </a:xfrm>
          <a:prstGeom prst="rect">
            <a:avLst/>
          </a:prstGeom>
          <a:ln w="28575" cap="rnd">
            <a:solidFill>
              <a:srgbClr val="737373"/>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343456704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nodeType="clickEffect">
                                  <p:stCondLst>
                                    <p:cond delay="0"/>
                                  </p:stCondLst>
                                  <p:childTnLst>
                                    <p:animEffect transition="out" filter="fade">
                                      <p:cBhvr>
                                        <p:cTn id="12" dur="500"/>
                                        <p:tgtEl>
                                          <p:spTgt spid="5"/>
                                        </p:tgtEl>
                                      </p:cBhvr>
                                    </p:animEffect>
                                    <p:set>
                                      <p:cBhvr>
                                        <p:cTn id="13" dur="1" fill="hold">
                                          <p:stCondLst>
                                            <p:cond delay="499"/>
                                          </p:stCondLst>
                                        </p:cTn>
                                        <p:tgtEl>
                                          <p:spTgt spid="5"/>
                                        </p:tgtEl>
                                        <p:attrNameLst>
                                          <p:attrName>style.visibility</p:attrName>
                                        </p:attrNameLst>
                                      </p:cBhvr>
                                      <p:to>
                                        <p:strVal val="hidden"/>
                                      </p:to>
                                    </p:set>
                                  </p:childTnLst>
                                </p:cTn>
                              </p:par>
                              <p:par>
                                <p:cTn id="14" presetID="1" presetClass="entr" presetSubtype="0"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nodeType="clickEffect">
                                  <p:stCondLst>
                                    <p:cond delay="0"/>
                                  </p:stCondLst>
                                  <p:childTnLst>
                                    <p:set>
                                      <p:cBhvr>
                                        <p:cTn id="19" dur="1" fill="hold">
                                          <p:stCondLst>
                                            <p:cond delay="0"/>
                                          </p:stCondLst>
                                        </p:cTn>
                                        <p:tgtEl>
                                          <p:spTgt spid="12"/>
                                        </p:tgtEl>
                                        <p:attrNameLst>
                                          <p:attrName>style.visibility</p:attrName>
                                        </p:attrNameLst>
                                      </p:cBhvr>
                                      <p:to>
                                        <p:strVal val="hidden"/>
                                      </p:to>
                                    </p:set>
                                  </p:childTnLst>
                                </p:cTn>
                              </p:par>
                              <p:par>
                                <p:cTn id="20" presetID="1" presetClass="entr" presetSubtype="0"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17"/>
                                        </p:tgtEl>
                                        <p:attrNameLst>
                                          <p:attrName>style.visibility</p:attrName>
                                        </p:attrNameLst>
                                      </p:cBhvr>
                                      <p:to>
                                        <p:strVal val="hidden"/>
                                      </p:to>
                                    </p:set>
                                  </p:childTnLst>
                                </p:cTn>
                              </p:par>
                              <p:par>
                                <p:cTn id="26" presetID="1"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nodeType="clickEffect">
                                  <p:stCondLst>
                                    <p:cond delay="0"/>
                                  </p:stCondLst>
                                  <p:childTnLst>
                                    <p:set>
                                      <p:cBhvr>
                                        <p:cTn id="31" dur="1" fill="hold">
                                          <p:stCondLst>
                                            <p:cond delay="0"/>
                                          </p:stCondLst>
                                        </p:cTn>
                                        <p:tgtEl>
                                          <p:spTgt spid="16"/>
                                        </p:tgtEl>
                                        <p:attrNameLst>
                                          <p:attrName>style.visibility</p:attrName>
                                        </p:attrNameLst>
                                      </p:cBhvr>
                                      <p:to>
                                        <p:strVal val="hidden"/>
                                      </p:to>
                                    </p:set>
                                  </p:childTnLst>
                                </p:cTn>
                              </p:par>
                              <p:par>
                                <p:cTn id="32" presetID="1" presetClass="entr" presetSubtype="0"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18"/>
                                        </p:tgtEl>
                                        <p:attrNameLst>
                                          <p:attrName>style.visibility</p:attrName>
                                        </p:attrNameLst>
                                      </p:cBhvr>
                                      <p:to>
                                        <p:strVal val="hidden"/>
                                      </p:to>
                                    </p:set>
                                  </p:childTnLst>
                                </p:cTn>
                              </p:par>
                              <p:par>
                                <p:cTn id="38" presetID="1"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SOLID</a:t>
            </a:r>
          </a:p>
        </p:txBody>
      </p:sp>
      <p:pic>
        <p:nvPicPr>
          <p:cNvPr id="3" name="Imagen 2"/>
          <p:cNvPicPr>
            <a:picLocks noChangeAspect="1"/>
          </p:cNvPicPr>
          <p:nvPr/>
        </p:nvPicPr>
        <p:blipFill>
          <a:blip r:embed="rId3"/>
          <a:stretch>
            <a:fillRect/>
          </a:stretch>
        </p:blipFill>
        <p:spPr>
          <a:xfrm>
            <a:off x="585216" y="1611682"/>
            <a:ext cx="11544300" cy="3476625"/>
          </a:xfrm>
          <a:prstGeom prst="rect">
            <a:avLst/>
          </a:prstGeom>
        </p:spPr>
      </p:pic>
      <p:sp>
        <p:nvSpPr>
          <p:cNvPr id="5" name="Rectángulo 4"/>
          <p:cNvSpPr/>
          <p:nvPr/>
        </p:nvSpPr>
        <p:spPr bwMode="auto">
          <a:xfrm>
            <a:off x="1904999" y="3690150"/>
            <a:ext cx="6810375" cy="2476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ángulo 6"/>
          <p:cNvSpPr/>
          <p:nvPr/>
        </p:nvSpPr>
        <p:spPr bwMode="auto">
          <a:xfrm>
            <a:off x="1876424" y="3939566"/>
            <a:ext cx="9544051" cy="2476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ángulo 7"/>
          <p:cNvSpPr/>
          <p:nvPr/>
        </p:nvSpPr>
        <p:spPr bwMode="auto">
          <a:xfrm>
            <a:off x="1876424" y="4187216"/>
            <a:ext cx="7400926" cy="2476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9" name="Grupo 8"/>
          <p:cNvGrpSpPr/>
          <p:nvPr/>
        </p:nvGrpSpPr>
        <p:grpSpPr>
          <a:xfrm>
            <a:off x="585216" y="1455054"/>
            <a:ext cx="9762308" cy="1071154"/>
            <a:chOff x="1114697" y="2998916"/>
            <a:chExt cx="9762308" cy="1071154"/>
          </a:xfrm>
        </p:grpSpPr>
        <p:sp>
          <p:nvSpPr>
            <p:cNvPr id="10" name="Rectángulo redondeado 9"/>
            <p:cNvSpPr/>
            <p:nvPr/>
          </p:nvSpPr>
          <p:spPr bwMode="auto">
            <a:xfrm>
              <a:off x="1114697" y="2998916"/>
              <a:ext cx="9762308" cy="1071154"/>
            </a:xfrm>
            <a:prstGeom prst="roundRect">
              <a:avLst/>
            </a:prstGeom>
            <a:gradFill flip="none" rotWithShape="1">
              <a:gsLst>
                <a:gs pos="0">
                  <a:srgbClr val="2980B9">
                    <a:tint val="66000"/>
                    <a:satMod val="160000"/>
                  </a:srgbClr>
                </a:gs>
                <a:gs pos="50000">
                  <a:srgbClr val="2980B9">
                    <a:tint val="44500"/>
                    <a:satMod val="160000"/>
                  </a:srgbClr>
                </a:gs>
                <a:gs pos="100000">
                  <a:srgbClr val="2980B9">
                    <a:tint val="23500"/>
                    <a:satMod val="16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just"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CuadroTexto 10"/>
            <p:cNvSpPr txBox="1"/>
            <p:nvPr/>
          </p:nvSpPr>
          <p:spPr>
            <a:xfrm>
              <a:off x="1301931" y="3054362"/>
              <a:ext cx="9387840" cy="960263"/>
            </a:xfrm>
            <a:prstGeom prst="rect">
              <a:avLst/>
            </a:prstGeom>
            <a:noFill/>
          </p:spPr>
          <p:txBody>
            <a:bodyPr wrap="square" lIns="182880" tIns="146304" rIns="182880" bIns="146304" rtlCol="0" anchor="ctr">
              <a:spAutoFit/>
            </a:bodyPr>
            <a:lstStyle/>
            <a:p>
              <a:pPr algn="just">
                <a:lnSpc>
                  <a:spcPct val="90000"/>
                </a:lnSpc>
                <a:spcAft>
                  <a:spcPts val="600"/>
                </a:spcAft>
              </a:pPr>
              <a:r>
                <a:rPr lang="es-ES" dirty="0" smtClean="0"/>
                <a:t>Nacieron </a:t>
              </a:r>
              <a:r>
                <a:rPr lang="es-ES" dirty="0"/>
                <a:t>como una reacción a los </a:t>
              </a:r>
              <a:r>
                <a:rPr lang="es-ES" dirty="0" err="1" smtClean="0"/>
                <a:t>design</a:t>
              </a:r>
              <a:r>
                <a:rPr lang="es-ES" dirty="0" smtClean="0"/>
                <a:t> </a:t>
              </a:r>
              <a:r>
                <a:rPr lang="es-ES" dirty="0" err="1" smtClean="0"/>
                <a:t>smells</a:t>
              </a:r>
              <a:r>
                <a:rPr lang="es-ES" dirty="0" smtClean="0"/>
                <a:t>. </a:t>
              </a:r>
              <a:r>
                <a:rPr lang="es-ES" dirty="0"/>
                <a:t>L</a:t>
              </a:r>
              <a:r>
                <a:rPr lang="es-ES" dirty="0" smtClean="0"/>
                <a:t>a </a:t>
              </a:r>
              <a:r>
                <a:rPr lang="es-ES" dirty="0"/>
                <a:t>violación de algún principio del diseño orientado a objetos</a:t>
              </a:r>
              <a:r>
                <a:rPr lang="es-ES" dirty="0" smtClean="0"/>
                <a:t>.</a:t>
              </a:r>
              <a:endParaRPr lang="es-ES" dirty="0"/>
            </a:p>
          </p:txBody>
        </p:sp>
      </p:grpSp>
    </p:spTree>
    <p:extLst>
      <p:ext uri="{BB962C8B-B14F-4D97-AF65-F5344CB8AC3E}">
        <p14:creationId xmlns:p14="http://schemas.microsoft.com/office/powerpoint/2010/main" val="96840139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xit" presetSubtype="10" fill="hold" nodeType="clickEffect">
                                  <p:stCondLst>
                                    <p:cond delay="0"/>
                                  </p:stCondLst>
                                  <p:childTnLst>
                                    <p:animEffect transition="out" filter="randombar(horizontal)">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9"/>
                                          </p:stCondLst>
                                        </p:cTn>
                                        <p:tgtEl>
                                          <p:spTgt spid="3"/>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1" nodeType="clickEffect">
                                  <p:stCondLst>
                                    <p:cond delay="0"/>
                                  </p:stCondLst>
                                  <p:childTnLst>
                                    <p:set>
                                      <p:cBhvr>
                                        <p:cTn id="13" dur="1" fill="hold">
                                          <p:stCondLst>
                                            <p:cond delay="0"/>
                                          </p:stCondLst>
                                        </p:cTn>
                                        <p:tgtEl>
                                          <p:spTgt spid="5"/>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xit" presetSubtype="0" fill="hold" grpId="1" nodeType="clickEffect">
                                  <p:stCondLst>
                                    <p:cond delay="0"/>
                                  </p:stCondLst>
                                  <p:childTnLst>
                                    <p:set>
                                      <p:cBhvr>
                                        <p:cTn id="17" dur="1" fill="hold">
                                          <p:stCondLst>
                                            <p:cond delay="0"/>
                                          </p:stCondLst>
                                        </p:cTn>
                                        <p:tgtEl>
                                          <p:spTgt spid="7"/>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 presetClass="exit" presetSubtype="0" fill="hold" grpId="1" nodeType="clickEffect">
                                  <p:stCondLst>
                                    <p:cond delay="0"/>
                                  </p:stCondLst>
                                  <p:childTnLst>
                                    <p:set>
                                      <p:cBhvr>
                                        <p:cTn id="21"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1" animBg="1"/>
      <p:bldP spid="7" grpId="1" animBg="1"/>
      <p:bldP spid="8"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SOLID</a:t>
            </a:r>
          </a:p>
        </p:txBody>
      </p:sp>
      <p:sp>
        <p:nvSpPr>
          <p:cNvPr id="9" name="Rectángulo 8"/>
          <p:cNvSpPr/>
          <p:nvPr/>
        </p:nvSpPr>
        <p:spPr bwMode="auto">
          <a:xfrm>
            <a:off x="1649716" y="3579812"/>
            <a:ext cx="7543800" cy="2762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ángulo 10"/>
          <p:cNvSpPr/>
          <p:nvPr/>
        </p:nvSpPr>
        <p:spPr bwMode="auto">
          <a:xfrm>
            <a:off x="1649716" y="3856038"/>
            <a:ext cx="7543800" cy="228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ángulo 11"/>
          <p:cNvSpPr/>
          <p:nvPr/>
        </p:nvSpPr>
        <p:spPr bwMode="auto">
          <a:xfrm>
            <a:off x="1649716" y="4109847"/>
            <a:ext cx="7543800" cy="228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Imagen 12"/>
          <p:cNvPicPr>
            <a:picLocks noChangeAspect="1"/>
          </p:cNvPicPr>
          <p:nvPr/>
        </p:nvPicPr>
        <p:blipFill>
          <a:blip r:embed="rId3"/>
          <a:stretch>
            <a:fillRect/>
          </a:stretch>
        </p:blipFill>
        <p:spPr>
          <a:xfrm>
            <a:off x="585216" y="1614082"/>
            <a:ext cx="9572625" cy="3390900"/>
          </a:xfrm>
          <a:prstGeom prst="rect">
            <a:avLst/>
          </a:prstGeom>
        </p:spPr>
      </p:pic>
      <p:sp>
        <p:nvSpPr>
          <p:cNvPr id="14" name="Rectángulo 13"/>
          <p:cNvSpPr/>
          <p:nvPr/>
        </p:nvSpPr>
        <p:spPr bwMode="auto">
          <a:xfrm>
            <a:off x="1943100" y="3598862"/>
            <a:ext cx="7705725" cy="2762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Rectángulo 15"/>
          <p:cNvSpPr/>
          <p:nvPr/>
        </p:nvSpPr>
        <p:spPr bwMode="auto">
          <a:xfrm>
            <a:off x="1943100" y="3874217"/>
            <a:ext cx="7705725" cy="2762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Rectángulo 16"/>
          <p:cNvSpPr/>
          <p:nvPr/>
        </p:nvSpPr>
        <p:spPr bwMode="auto">
          <a:xfrm>
            <a:off x="1943099" y="4109847"/>
            <a:ext cx="7705725" cy="2762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5085170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solidFill>
                  <a:srgbClr val="0078D7"/>
                </a:solidFill>
              </a:rPr>
              <a:t>¿Quiénes somos?</a:t>
            </a:r>
            <a:endParaRPr lang="es-ES" dirty="0">
              <a:solidFill>
                <a:srgbClr val="0078D7"/>
              </a:solidFill>
            </a:endParaRPr>
          </a:p>
        </p:txBody>
      </p:sp>
      <p:graphicFrame>
        <p:nvGraphicFramePr>
          <p:cNvPr id="5" name="Diagrama 4"/>
          <p:cNvGraphicFramePr/>
          <p:nvPr>
            <p:extLst>
              <p:ext uri="{D42A27DB-BD31-4B8C-83A1-F6EECF244321}">
                <p14:modId xmlns:p14="http://schemas.microsoft.com/office/powerpoint/2010/main" val="3292041700"/>
              </p:ext>
            </p:extLst>
          </p:nvPr>
        </p:nvGraphicFramePr>
        <p:xfrm>
          <a:off x="586339" y="2820114"/>
          <a:ext cx="11226196" cy="3298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2 CuadroTexto"/>
          <p:cNvSpPr txBox="1"/>
          <p:nvPr/>
        </p:nvSpPr>
        <p:spPr>
          <a:xfrm>
            <a:off x="1008993" y="3137338"/>
            <a:ext cx="4335517" cy="2674578"/>
          </a:xfrm>
          <a:prstGeom prst="rect">
            <a:avLst/>
          </a:prstGeom>
          <a:noFill/>
        </p:spPr>
        <p:txBody>
          <a:bodyPr wrap="square" lIns="182880" tIns="146304" rIns="182880" bIns="146304" rtlCol="0">
            <a:spAutoFit/>
          </a:bodyPr>
          <a:lstStyle/>
          <a:p>
            <a:pPr>
              <a:lnSpc>
                <a:spcPct val="90000"/>
              </a:lnSpc>
              <a:spcAft>
                <a:spcPts val="600"/>
              </a:spcAft>
            </a:pPr>
            <a:r>
              <a:rPr lang="es-ES" dirty="0" smtClean="0">
                <a:gradFill>
                  <a:gsLst>
                    <a:gs pos="2917">
                      <a:schemeClr val="tx1"/>
                    </a:gs>
                    <a:gs pos="30000">
                      <a:schemeClr val="tx1"/>
                    </a:gs>
                  </a:gsLst>
                  <a:lin ang="5400000" scaled="0"/>
                </a:gradFill>
              </a:rPr>
              <a:t>Rafa Serrano</a:t>
            </a:r>
          </a:p>
          <a:p>
            <a:pPr>
              <a:lnSpc>
                <a:spcPct val="90000"/>
              </a:lnSpc>
              <a:spcAft>
                <a:spcPts val="600"/>
              </a:spcAft>
            </a:pPr>
            <a:r>
              <a:rPr lang="es-ES" sz="2400" dirty="0" smtClean="0">
                <a:gradFill>
                  <a:gsLst>
                    <a:gs pos="2917">
                      <a:schemeClr val="tx1"/>
                    </a:gs>
                    <a:gs pos="30000">
                      <a:schemeClr val="tx1"/>
                    </a:gs>
                  </a:gsLst>
                  <a:lin ang="5400000" scaled="0"/>
                </a:gradFill>
              </a:rPr>
              <a:t>@_</a:t>
            </a:r>
            <a:r>
              <a:rPr lang="es-ES" sz="2400" dirty="0" err="1" smtClean="0">
                <a:gradFill>
                  <a:gsLst>
                    <a:gs pos="2917">
                      <a:schemeClr val="tx1"/>
                    </a:gs>
                    <a:gs pos="30000">
                      <a:schemeClr val="tx1"/>
                    </a:gs>
                  </a:gsLst>
                  <a:lin ang="5400000" scaled="0"/>
                </a:gradFill>
              </a:rPr>
              <a:t>rafaserrano</a:t>
            </a:r>
            <a:r>
              <a:rPr lang="es-ES" sz="2400" dirty="0" smtClean="0">
                <a:gradFill>
                  <a:gsLst>
                    <a:gs pos="2917">
                      <a:schemeClr val="tx1"/>
                    </a:gs>
                    <a:gs pos="30000">
                      <a:schemeClr val="tx1"/>
                    </a:gs>
                  </a:gsLst>
                  <a:lin ang="5400000" scaled="0"/>
                </a:gradFill>
              </a:rPr>
              <a:t>_</a:t>
            </a:r>
          </a:p>
          <a:p>
            <a:pPr>
              <a:lnSpc>
                <a:spcPct val="90000"/>
              </a:lnSpc>
              <a:spcAft>
                <a:spcPts val="600"/>
              </a:spcAft>
            </a:pPr>
            <a:r>
              <a:rPr lang="es-ES" dirty="0" smtClean="0">
                <a:gradFill>
                  <a:gsLst>
                    <a:gs pos="2917">
                      <a:schemeClr val="tx1"/>
                    </a:gs>
                    <a:gs pos="30000">
                      <a:schemeClr val="tx1"/>
                    </a:gs>
                  </a:gsLst>
                  <a:lin ang="5400000" scaled="0"/>
                </a:gradFill>
                <a:hlinkClick r:id="rId8"/>
              </a:rPr>
              <a:t>rafazgz@live.com</a:t>
            </a:r>
            <a:endParaRPr lang="es-ES" dirty="0" smtClean="0">
              <a:gradFill>
                <a:gsLst>
                  <a:gs pos="2917">
                    <a:schemeClr val="tx1"/>
                  </a:gs>
                  <a:gs pos="30000">
                    <a:schemeClr val="tx1"/>
                  </a:gs>
                </a:gsLst>
                <a:lin ang="5400000" scaled="0"/>
              </a:gradFill>
            </a:endParaRPr>
          </a:p>
          <a:p>
            <a:pPr>
              <a:lnSpc>
                <a:spcPct val="90000"/>
              </a:lnSpc>
              <a:spcAft>
                <a:spcPts val="600"/>
              </a:spcAft>
            </a:pPr>
            <a:endParaRPr lang="es-ES" sz="2400" dirty="0">
              <a:gradFill>
                <a:gsLst>
                  <a:gs pos="2917">
                    <a:schemeClr val="tx1"/>
                  </a:gs>
                  <a:gs pos="30000">
                    <a:schemeClr val="tx1"/>
                  </a:gs>
                </a:gsLst>
                <a:lin ang="5400000" scaled="0"/>
              </a:gradFill>
            </a:endParaRPr>
          </a:p>
          <a:p>
            <a:pPr>
              <a:lnSpc>
                <a:spcPct val="90000"/>
              </a:lnSpc>
              <a:spcAft>
                <a:spcPts val="600"/>
              </a:spcAft>
            </a:pPr>
            <a:endParaRPr lang="es-ES" dirty="0" smtClean="0">
              <a:gradFill>
                <a:gsLst>
                  <a:gs pos="2917">
                    <a:schemeClr val="tx1"/>
                  </a:gs>
                  <a:gs pos="30000">
                    <a:schemeClr val="tx1"/>
                  </a:gs>
                </a:gsLst>
                <a:lin ang="5400000" scaled="0"/>
              </a:gradFill>
            </a:endParaRPr>
          </a:p>
          <a:p>
            <a:pPr>
              <a:lnSpc>
                <a:spcPct val="90000"/>
              </a:lnSpc>
              <a:spcAft>
                <a:spcPts val="600"/>
              </a:spcAft>
            </a:pPr>
            <a:r>
              <a:rPr lang="es-ES" sz="2400" dirty="0" err="1" smtClean="0">
                <a:gradFill>
                  <a:gsLst>
                    <a:gs pos="2917">
                      <a:schemeClr val="tx1"/>
                    </a:gs>
                    <a:gs pos="30000">
                      <a:schemeClr val="tx1"/>
                    </a:gs>
                  </a:gsLst>
                  <a:lin ang="5400000" scaled="0"/>
                </a:gradFill>
              </a:rPr>
              <a:t>Team</a:t>
            </a:r>
            <a:r>
              <a:rPr lang="es-ES" sz="2400" dirty="0" smtClean="0">
                <a:gradFill>
                  <a:gsLst>
                    <a:gs pos="2917">
                      <a:schemeClr val="tx1"/>
                    </a:gs>
                    <a:gs pos="30000">
                      <a:schemeClr val="tx1"/>
                    </a:gs>
                  </a:gsLst>
                  <a:lin ang="5400000" scaled="0"/>
                </a:gradFill>
              </a:rPr>
              <a:t> Leader en </a:t>
            </a:r>
            <a:r>
              <a:rPr lang="es-ES" sz="2400" dirty="0" err="1" smtClean="0">
                <a:gradFill>
                  <a:gsLst>
                    <a:gs pos="2917">
                      <a:schemeClr val="tx1"/>
                    </a:gs>
                    <a:gs pos="30000">
                      <a:schemeClr val="tx1"/>
                    </a:gs>
                  </a:gsLst>
                  <a:lin ang="5400000" scaled="0"/>
                </a:gradFill>
              </a:rPr>
              <a:t>Ibercaja</a:t>
            </a:r>
            <a:r>
              <a:rPr lang="es-ES" sz="2400" dirty="0" smtClean="0">
                <a:gradFill>
                  <a:gsLst>
                    <a:gs pos="2917">
                      <a:schemeClr val="tx1"/>
                    </a:gs>
                    <a:gs pos="30000">
                      <a:schemeClr val="tx1"/>
                    </a:gs>
                  </a:gsLst>
                  <a:lin ang="5400000" scaled="0"/>
                </a:gradFill>
              </a:rPr>
              <a:t> Vida</a:t>
            </a:r>
          </a:p>
        </p:txBody>
      </p:sp>
      <p:pic>
        <p:nvPicPr>
          <p:cNvPr id="235522"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80680" y="0"/>
            <a:ext cx="3201344" cy="66688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0658361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graphicEl>
                                              <a:dgm id="{EA6FDDA0-00E0-0000-C99B-E1F0FB7F0000}"/>
                                            </p:graphicEl>
                                          </p:spTgt>
                                        </p:tgtEl>
                                        <p:attrNameLst>
                                          <p:attrName>style.visibility</p:attrName>
                                        </p:attrNameLst>
                                      </p:cBhvr>
                                      <p:to>
                                        <p:strVal val="visible"/>
                                      </p:to>
                                    </p:set>
                                    <p:animEffect transition="in" filter="fade">
                                      <p:cBhvr>
                                        <p:cTn id="7" dur="1000"/>
                                        <p:tgtEl>
                                          <p:spTgt spid="5">
                                            <p:graphicEl>
                                              <a:dgm id="{EA6FDDA0-00E0-0000-C99B-E1F0FB7F0000}"/>
                                            </p:graphicEl>
                                          </p:spTgt>
                                        </p:tgtEl>
                                      </p:cBhvr>
                                    </p:animEffect>
                                    <p:anim calcmode="lin" valueType="num">
                                      <p:cBhvr>
                                        <p:cTn id="8" dur="1000" fill="hold"/>
                                        <p:tgtEl>
                                          <p:spTgt spid="5">
                                            <p:graphicEl>
                                              <a:dgm id="{EA6FDD80-00E0-0000-C99B-E1F0FB7F0000}"/>
                                            </p:graphicEl>
                                          </p:spTgt>
                                        </p:tgtEl>
                                        <p:attrNameLst>
                                          <p:attrName>ppt_x</p:attrName>
                                        </p:attrNameLst>
                                      </p:cBhvr>
                                      <p:tavLst>
                                        <p:tav tm="0">
                                          <p:val>
                                            <p:strVal val="#ppt_x"/>
                                          </p:val>
                                        </p:tav>
                                        <p:tav tm="100000">
                                          <p:val>
                                            <p:strVal val="#ppt_x"/>
                                          </p:val>
                                        </p:tav>
                                      </p:tavLst>
                                    </p:anim>
                                    <p:anim calcmode="lin" valueType="num">
                                      <p:cBhvr>
                                        <p:cTn id="9" dur="1000" fill="hold"/>
                                        <p:tgtEl>
                                          <p:spTgt spid="5">
                                            <p:graphicEl>
                                              <a:dgm id="{EA6FDD80-00E0-0000-C99B-E1F0FB7F0000}"/>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SOLID</a:t>
            </a:r>
          </a:p>
        </p:txBody>
      </p:sp>
      <p:pic>
        <p:nvPicPr>
          <p:cNvPr id="2355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216" y="1444411"/>
            <a:ext cx="11330559" cy="4979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2 Rectángulo"/>
          <p:cNvSpPr/>
          <p:nvPr/>
        </p:nvSpPr>
        <p:spPr bwMode="auto">
          <a:xfrm flipV="1">
            <a:off x="1248843" y="5054321"/>
            <a:ext cx="11051177" cy="7289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6 Rectángulo"/>
          <p:cNvSpPr/>
          <p:nvPr/>
        </p:nvSpPr>
        <p:spPr bwMode="auto">
          <a:xfrm flipV="1">
            <a:off x="1385298" y="4325379"/>
            <a:ext cx="11051177" cy="7289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7 Rectángulo"/>
          <p:cNvSpPr/>
          <p:nvPr/>
        </p:nvSpPr>
        <p:spPr bwMode="auto">
          <a:xfrm flipV="1">
            <a:off x="1385297" y="4139921"/>
            <a:ext cx="11051177" cy="7289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8 Rectángulo"/>
          <p:cNvSpPr/>
          <p:nvPr/>
        </p:nvSpPr>
        <p:spPr bwMode="auto">
          <a:xfrm flipV="1">
            <a:off x="1149849" y="3475692"/>
            <a:ext cx="11051177" cy="7289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9 Rectángulo"/>
          <p:cNvSpPr/>
          <p:nvPr/>
        </p:nvSpPr>
        <p:spPr bwMode="auto">
          <a:xfrm flipV="1">
            <a:off x="1149849" y="3205280"/>
            <a:ext cx="11051177" cy="7289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ángulo 3"/>
          <p:cNvSpPr/>
          <p:nvPr/>
        </p:nvSpPr>
        <p:spPr bwMode="auto">
          <a:xfrm>
            <a:off x="1581150" y="2743200"/>
            <a:ext cx="7858125" cy="2667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ángulo 30"/>
          <p:cNvSpPr/>
          <p:nvPr/>
        </p:nvSpPr>
        <p:spPr bwMode="auto">
          <a:xfrm>
            <a:off x="1581150" y="2976121"/>
            <a:ext cx="7858125" cy="2667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0097579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animBg="1"/>
      <p:bldP spid="9" grpId="0" animBg="1"/>
      <p:bldP spid="10" grpId="0" animBg="1"/>
      <p:bldP spid="4" grpId="0" animBg="1"/>
      <p:bldP spid="3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SOLID</a:t>
            </a:r>
          </a:p>
        </p:txBody>
      </p:sp>
      <p:pic>
        <p:nvPicPr>
          <p:cNvPr id="5" name="Imagen 4"/>
          <p:cNvPicPr>
            <a:picLocks noChangeAspect="1"/>
          </p:cNvPicPr>
          <p:nvPr/>
        </p:nvPicPr>
        <p:blipFill>
          <a:blip r:embed="rId3"/>
          <a:stretch>
            <a:fillRect/>
          </a:stretch>
        </p:blipFill>
        <p:spPr>
          <a:xfrm>
            <a:off x="585216" y="1362266"/>
            <a:ext cx="10946675" cy="3801871"/>
          </a:xfrm>
          <a:prstGeom prst="rect">
            <a:avLst/>
          </a:prstGeom>
        </p:spPr>
      </p:pic>
      <p:sp>
        <p:nvSpPr>
          <p:cNvPr id="10" name="Rectángulo 9"/>
          <p:cNvSpPr/>
          <p:nvPr/>
        </p:nvSpPr>
        <p:spPr bwMode="auto">
          <a:xfrm>
            <a:off x="1680864" y="2764755"/>
            <a:ext cx="9906000"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ángulo 14"/>
          <p:cNvSpPr/>
          <p:nvPr/>
        </p:nvSpPr>
        <p:spPr bwMode="auto">
          <a:xfrm>
            <a:off x="1680864" y="3001896"/>
            <a:ext cx="9906000"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Rectángulo 15"/>
          <p:cNvSpPr/>
          <p:nvPr/>
        </p:nvSpPr>
        <p:spPr bwMode="auto">
          <a:xfrm>
            <a:off x="1686452" y="3245029"/>
            <a:ext cx="9906000"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Rectángulo 16"/>
          <p:cNvSpPr/>
          <p:nvPr/>
        </p:nvSpPr>
        <p:spPr bwMode="auto">
          <a:xfrm>
            <a:off x="1686452" y="3549829"/>
            <a:ext cx="9906000"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ángulo 17"/>
          <p:cNvSpPr/>
          <p:nvPr/>
        </p:nvSpPr>
        <p:spPr bwMode="auto">
          <a:xfrm>
            <a:off x="1683658" y="3864154"/>
            <a:ext cx="9906000"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Rectángulo 18"/>
          <p:cNvSpPr/>
          <p:nvPr/>
        </p:nvSpPr>
        <p:spPr bwMode="auto">
          <a:xfrm>
            <a:off x="1680864" y="4117585"/>
            <a:ext cx="9906000"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643709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5" grpId="0" animBg="1"/>
      <p:bldP spid="16" grpId="0" animBg="1"/>
      <p:bldP spid="17" grpId="0" animBg="1"/>
      <p:bldP spid="18" grpId="0" animBg="1"/>
      <p:bldP spid="1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Single </a:t>
            </a:r>
            <a:r>
              <a:rPr lang="es-ES" b="1" dirty="0" err="1">
                <a:solidFill>
                  <a:schemeClr val="accent1">
                    <a:lumMod val="75000"/>
                  </a:schemeClr>
                </a:solidFill>
                <a:effectLst>
                  <a:outerShdw blurRad="38100" dist="38100" dir="2700000" algn="tl">
                    <a:srgbClr val="000000">
                      <a:alpha val="43137"/>
                    </a:srgbClr>
                  </a:outerShdw>
                </a:effectLst>
              </a:rPr>
              <a:t>responsability</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b="1" dirty="0">
              <a:solidFill>
                <a:schemeClr val="accent1">
                  <a:lumMod val="75000"/>
                </a:schemeClr>
              </a:solidFill>
              <a:effectLst>
                <a:outerShdw blurRad="38100" dist="38100" dir="2700000" algn="tl">
                  <a:srgbClr val="000000">
                    <a:alpha val="43137"/>
                  </a:srgbClr>
                </a:outerShdw>
              </a:effectLst>
            </a:endParaRPr>
          </a:p>
        </p:txBody>
      </p:sp>
      <p:pic>
        <p:nvPicPr>
          <p:cNvPr id="5" name="Imagen 4"/>
          <p:cNvPicPr>
            <a:picLocks noChangeAspect="1"/>
          </p:cNvPicPr>
          <p:nvPr/>
        </p:nvPicPr>
        <p:blipFill>
          <a:blip r:embed="rId3"/>
          <a:stretch>
            <a:fillRect/>
          </a:stretch>
        </p:blipFill>
        <p:spPr>
          <a:xfrm>
            <a:off x="585216" y="1362266"/>
            <a:ext cx="10991850" cy="2085975"/>
          </a:xfrm>
          <a:prstGeom prst="rect">
            <a:avLst/>
          </a:prstGeom>
        </p:spPr>
      </p:pic>
      <p:pic>
        <p:nvPicPr>
          <p:cNvPr id="9" name="Imagen 8"/>
          <p:cNvPicPr>
            <a:picLocks noChangeAspect="1"/>
          </p:cNvPicPr>
          <p:nvPr/>
        </p:nvPicPr>
        <p:blipFill>
          <a:blip r:embed="rId4"/>
          <a:stretch>
            <a:fillRect/>
          </a:stretch>
        </p:blipFill>
        <p:spPr>
          <a:xfrm>
            <a:off x="585216" y="1362266"/>
            <a:ext cx="11620500" cy="2390775"/>
          </a:xfrm>
          <a:prstGeom prst="rect">
            <a:avLst/>
          </a:prstGeom>
        </p:spPr>
      </p:pic>
      <p:pic>
        <p:nvPicPr>
          <p:cNvPr id="10" name="Imagen 9"/>
          <p:cNvPicPr>
            <a:picLocks noChangeAspect="1"/>
          </p:cNvPicPr>
          <p:nvPr/>
        </p:nvPicPr>
        <p:blipFill>
          <a:blip r:embed="rId5"/>
          <a:stretch>
            <a:fillRect/>
          </a:stretch>
        </p:blipFill>
        <p:spPr>
          <a:xfrm>
            <a:off x="585216" y="1362266"/>
            <a:ext cx="10553700" cy="2819400"/>
          </a:xfrm>
          <a:prstGeom prst="rect">
            <a:avLst/>
          </a:prstGeom>
        </p:spPr>
      </p:pic>
      <p:pic>
        <p:nvPicPr>
          <p:cNvPr id="13" name="Imagen 12"/>
          <p:cNvPicPr>
            <a:picLocks noChangeAspect="1"/>
          </p:cNvPicPr>
          <p:nvPr/>
        </p:nvPicPr>
        <p:blipFill>
          <a:blip r:embed="rId6"/>
          <a:stretch>
            <a:fillRect/>
          </a:stretch>
        </p:blipFill>
        <p:spPr>
          <a:xfrm>
            <a:off x="585216" y="1362266"/>
            <a:ext cx="11201400" cy="2571750"/>
          </a:xfrm>
          <a:prstGeom prst="rect">
            <a:avLst/>
          </a:prstGeom>
        </p:spPr>
      </p:pic>
    </p:spTree>
    <p:extLst>
      <p:ext uri="{BB962C8B-B14F-4D97-AF65-F5344CB8AC3E}">
        <p14:creationId xmlns:p14="http://schemas.microsoft.com/office/powerpoint/2010/main" val="180702932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500"/>
                                        <p:tgtEl>
                                          <p:spTgt spid="9"/>
                                        </p:tgtEl>
                                      </p:cBhvr>
                                    </p:animEffect>
                                    <p:set>
                                      <p:cBhvr>
                                        <p:cTn id="14" dur="1" fill="hold">
                                          <p:stCondLst>
                                            <p:cond delay="499"/>
                                          </p:stCondLst>
                                        </p:cTn>
                                        <p:tgtEl>
                                          <p:spTgt spid="9"/>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10"/>
                                        </p:tgtEl>
                                      </p:cBhvr>
                                    </p:animEffect>
                                    <p:set>
                                      <p:cBhvr>
                                        <p:cTn id="21" dur="1" fill="hold">
                                          <p:stCondLst>
                                            <p:cond delay="499"/>
                                          </p:stCondLst>
                                        </p:cTn>
                                        <p:tgtEl>
                                          <p:spTgt spid="10"/>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ctrTitle"/>
          </p:nvPr>
        </p:nvSpPr>
        <p:spPr/>
        <p:txBody>
          <a:bodyPr/>
          <a:lstStyle/>
          <a:p>
            <a:r>
              <a:rPr lang="es-ES" u="sng" dirty="0" smtClean="0"/>
              <a:t>Demo</a:t>
            </a:r>
            <a:endParaRPr lang="es-ES" u="sng" dirty="0"/>
          </a:p>
        </p:txBody>
      </p:sp>
      <p:sp>
        <p:nvSpPr>
          <p:cNvPr id="8" name="Subtítulo 7"/>
          <p:cNvSpPr>
            <a:spLocks noGrp="1"/>
          </p:cNvSpPr>
          <p:nvPr>
            <p:ph type="subTitle" idx="1"/>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Single </a:t>
            </a:r>
            <a:r>
              <a:rPr lang="es-ES" b="1" dirty="0" err="1">
                <a:solidFill>
                  <a:schemeClr val="accent1">
                    <a:lumMod val="75000"/>
                  </a:schemeClr>
                </a:solidFill>
                <a:effectLst>
                  <a:outerShdw blurRad="38100" dist="38100" dir="2700000" algn="tl">
                    <a:srgbClr val="000000">
                      <a:alpha val="43137"/>
                    </a:srgbClr>
                  </a:outerShdw>
                </a:effectLst>
              </a:rPr>
              <a:t>responsability</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dirty="0"/>
          </a:p>
        </p:txBody>
      </p:sp>
      <p:sp>
        <p:nvSpPr>
          <p:cNvPr id="3" name="Marcador de número de diapositiva 2"/>
          <p:cNvSpPr>
            <a:spLocks noGrp="1"/>
          </p:cNvSpPr>
          <p:nvPr>
            <p:ph type="sldNum" sz="quarter" idx="12"/>
          </p:nvPr>
        </p:nvSpPr>
        <p:spPr/>
        <p:txBody>
          <a:bodyPr/>
          <a:lstStyle/>
          <a:p>
            <a:pPr defTabSz="932563"/>
            <a:fld id="{27258FFF-F925-446B-8502-81C933981705}" type="slidenum">
              <a:rPr lang="en-US" smtClean="0">
                <a:solidFill>
                  <a:srgbClr val="505050"/>
                </a:solidFill>
              </a:rPr>
              <a:pPr defTabSz="932563"/>
              <a:t>23</a:t>
            </a:fld>
            <a:endParaRPr lang="en-US" dirty="0">
              <a:solidFill>
                <a:srgbClr val="505050"/>
              </a:solidFill>
            </a:endParaRPr>
          </a:p>
        </p:txBody>
      </p:sp>
    </p:spTree>
    <p:extLst>
      <p:ext uri="{BB962C8B-B14F-4D97-AF65-F5344CB8AC3E}">
        <p14:creationId xmlns:p14="http://schemas.microsoft.com/office/powerpoint/2010/main" val="3531065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wrap="square" lIns="0" tIns="91440" rIns="146304" bIns="91440" rtlCol="0" anchor="t">
            <a:noAutofit/>
          </a:bodyPr>
          <a:lstStyle/>
          <a:p>
            <a:r>
              <a:rPr lang="es-ES" b="1" dirty="0">
                <a:solidFill>
                  <a:schemeClr val="accent1">
                    <a:lumMod val="75000"/>
                  </a:schemeClr>
                </a:solidFill>
                <a:effectLst>
                  <a:outerShdw blurRad="38100" dist="38100" dir="2700000" algn="tl">
                    <a:srgbClr val="000000">
                      <a:alpha val="43137"/>
                    </a:srgbClr>
                  </a:outerShdw>
                </a:effectLst>
              </a:rPr>
              <a:t>Open – </a:t>
            </a:r>
            <a:r>
              <a:rPr lang="es-ES" b="1" dirty="0" err="1">
                <a:solidFill>
                  <a:schemeClr val="accent1">
                    <a:lumMod val="75000"/>
                  </a:schemeClr>
                </a:solidFill>
                <a:effectLst>
                  <a:outerShdw blurRad="38100" dist="38100" dir="2700000" algn="tl">
                    <a:srgbClr val="000000">
                      <a:alpha val="43137"/>
                    </a:srgbClr>
                  </a:outerShdw>
                </a:effectLst>
              </a:rPr>
              <a:t>Closed</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b="1" dirty="0">
              <a:solidFill>
                <a:schemeClr val="accent1">
                  <a:lumMod val="75000"/>
                </a:schemeClr>
              </a:solidFill>
              <a:effectLst>
                <a:outerShdw blurRad="38100" dist="38100" dir="2700000" algn="tl">
                  <a:srgbClr val="000000">
                    <a:alpha val="43137"/>
                  </a:srgbClr>
                </a:outerShdw>
              </a:effectLst>
            </a:endParaRPr>
          </a:p>
        </p:txBody>
      </p:sp>
      <p:pic>
        <p:nvPicPr>
          <p:cNvPr id="6" name="Imagen 5"/>
          <p:cNvPicPr>
            <a:picLocks noChangeAspect="1"/>
          </p:cNvPicPr>
          <p:nvPr/>
        </p:nvPicPr>
        <p:blipFill>
          <a:blip r:embed="rId3"/>
          <a:stretch>
            <a:fillRect/>
          </a:stretch>
        </p:blipFill>
        <p:spPr>
          <a:xfrm>
            <a:off x="585216" y="1362266"/>
            <a:ext cx="11334750" cy="2905125"/>
          </a:xfrm>
          <a:prstGeom prst="rect">
            <a:avLst/>
          </a:prstGeom>
        </p:spPr>
      </p:pic>
      <p:pic>
        <p:nvPicPr>
          <p:cNvPr id="11" name="Imagen 10"/>
          <p:cNvPicPr>
            <a:picLocks noChangeAspect="1"/>
          </p:cNvPicPr>
          <p:nvPr/>
        </p:nvPicPr>
        <p:blipFill>
          <a:blip r:embed="rId4"/>
          <a:stretch>
            <a:fillRect/>
          </a:stretch>
        </p:blipFill>
        <p:spPr>
          <a:xfrm>
            <a:off x="585216" y="1362266"/>
            <a:ext cx="11734800" cy="3019425"/>
          </a:xfrm>
          <a:prstGeom prst="rect">
            <a:avLst/>
          </a:prstGeom>
        </p:spPr>
      </p:pic>
      <p:pic>
        <p:nvPicPr>
          <p:cNvPr id="12" name="Imagen 11"/>
          <p:cNvPicPr>
            <a:picLocks noChangeAspect="1"/>
          </p:cNvPicPr>
          <p:nvPr/>
        </p:nvPicPr>
        <p:blipFill>
          <a:blip r:embed="rId5"/>
          <a:stretch>
            <a:fillRect/>
          </a:stretch>
        </p:blipFill>
        <p:spPr>
          <a:xfrm>
            <a:off x="585216" y="1362266"/>
            <a:ext cx="11639550" cy="5133975"/>
          </a:xfrm>
          <a:prstGeom prst="rect">
            <a:avLst/>
          </a:prstGeom>
        </p:spPr>
      </p:pic>
      <p:pic>
        <p:nvPicPr>
          <p:cNvPr id="13" name="Imagen 12"/>
          <p:cNvPicPr>
            <a:picLocks noChangeAspect="1"/>
          </p:cNvPicPr>
          <p:nvPr/>
        </p:nvPicPr>
        <p:blipFill rotWithShape="1">
          <a:blip r:embed="rId6"/>
          <a:srcRect l="1882"/>
          <a:stretch/>
        </p:blipFill>
        <p:spPr>
          <a:xfrm>
            <a:off x="585216" y="1362266"/>
            <a:ext cx="10775544" cy="2181225"/>
          </a:xfrm>
          <a:prstGeom prst="rect">
            <a:avLst/>
          </a:prstGeom>
        </p:spPr>
      </p:pic>
    </p:spTree>
    <p:extLst>
      <p:ext uri="{BB962C8B-B14F-4D97-AF65-F5344CB8AC3E}">
        <p14:creationId xmlns:p14="http://schemas.microsoft.com/office/powerpoint/2010/main" val="307874681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12"/>
                                        </p:tgtEl>
                                      </p:cBhvr>
                                    </p:animEffect>
                                    <p:set>
                                      <p:cBhvr>
                                        <p:cTn id="21" dur="1" fill="hold">
                                          <p:stCondLst>
                                            <p:cond delay="499"/>
                                          </p:stCondLst>
                                        </p:cTn>
                                        <p:tgtEl>
                                          <p:spTgt spid="12"/>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ctrTitle"/>
          </p:nvPr>
        </p:nvSpPr>
        <p:spPr/>
        <p:txBody>
          <a:bodyPr/>
          <a:lstStyle/>
          <a:p>
            <a:r>
              <a:rPr lang="es-ES" u="sng" dirty="0" smtClean="0"/>
              <a:t>Demo</a:t>
            </a:r>
            <a:endParaRPr lang="es-ES" u="sng" dirty="0"/>
          </a:p>
        </p:txBody>
      </p:sp>
      <p:sp>
        <p:nvSpPr>
          <p:cNvPr id="8" name="Subtítulo 7"/>
          <p:cNvSpPr>
            <a:spLocks noGrp="1"/>
          </p:cNvSpPr>
          <p:nvPr>
            <p:ph type="subTitle" idx="1"/>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Open – </a:t>
            </a:r>
            <a:r>
              <a:rPr lang="es-ES" b="1" dirty="0" err="1">
                <a:solidFill>
                  <a:schemeClr val="accent1">
                    <a:lumMod val="75000"/>
                  </a:schemeClr>
                </a:solidFill>
                <a:effectLst>
                  <a:outerShdw blurRad="38100" dist="38100" dir="2700000" algn="tl">
                    <a:srgbClr val="000000">
                      <a:alpha val="43137"/>
                    </a:srgbClr>
                  </a:outerShdw>
                </a:effectLst>
              </a:rPr>
              <a:t>Closed</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dirty="0"/>
          </a:p>
        </p:txBody>
      </p:sp>
      <p:sp>
        <p:nvSpPr>
          <p:cNvPr id="3" name="Marcador de número de diapositiva 2"/>
          <p:cNvSpPr>
            <a:spLocks noGrp="1"/>
          </p:cNvSpPr>
          <p:nvPr>
            <p:ph type="sldNum" sz="quarter" idx="12"/>
          </p:nvPr>
        </p:nvSpPr>
        <p:spPr/>
        <p:txBody>
          <a:bodyPr/>
          <a:lstStyle/>
          <a:p>
            <a:pPr defTabSz="932563"/>
            <a:fld id="{27258FFF-F925-446B-8502-81C933981705}" type="slidenum">
              <a:rPr lang="en-US" smtClean="0">
                <a:solidFill>
                  <a:srgbClr val="505050"/>
                </a:solidFill>
              </a:rPr>
              <a:pPr defTabSz="932563"/>
              <a:t>25</a:t>
            </a:fld>
            <a:endParaRPr lang="en-US" dirty="0">
              <a:solidFill>
                <a:srgbClr val="505050"/>
              </a:solidFill>
            </a:endParaRPr>
          </a:p>
        </p:txBody>
      </p:sp>
    </p:spTree>
    <p:extLst>
      <p:ext uri="{BB962C8B-B14F-4D97-AF65-F5344CB8AC3E}">
        <p14:creationId xmlns:p14="http://schemas.microsoft.com/office/powerpoint/2010/main" val="3553811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85216" y="235781"/>
            <a:ext cx="11226195" cy="1097302"/>
          </a:xfrm>
        </p:spPr>
        <p:txBody>
          <a:bodyPr/>
          <a:lstStyle/>
          <a:p>
            <a:r>
              <a:rPr lang="es-ES" b="1" dirty="0" err="1">
                <a:solidFill>
                  <a:schemeClr val="accent1">
                    <a:lumMod val="75000"/>
                  </a:schemeClr>
                </a:solidFill>
                <a:effectLst>
                  <a:outerShdw blurRad="38100" dist="38100" dir="2700000" algn="tl">
                    <a:srgbClr val="000000">
                      <a:alpha val="43137"/>
                    </a:srgbClr>
                  </a:outerShdw>
                </a:effectLst>
              </a:rPr>
              <a:t>Liskov</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substitution</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b="1" dirty="0">
              <a:solidFill>
                <a:schemeClr val="accent1">
                  <a:lumMod val="75000"/>
                </a:schemeClr>
              </a:solidFill>
              <a:effectLst>
                <a:outerShdw blurRad="38100" dist="38100" dir="2700000" algn="tl">
                  <a:srgbClr val="000000">
                    <a:alpha val="43137"/>
                  </a:srgbClr>
                </a:outerShdw>
              </a:effectLst>
            </a:endParaRPr>
          </a:p>
        </p:txBody>
      </p:sp>
      <p:pic>
        <p:nvPicPr>
          <p:cNvPr id="11" name="Imagen 10"/>
          <p:cNvPicPr>
            <a:picLocks noChangeAspect="1"/>
          </p:cNvPicPr>
          <p:nvPr/>
        </p:nvPicPr>
        <p:blipFill>
          <a:blip r:embed="rId3"/>
          <a:stretch>
            <a:fillRect/>
          </a:stretch>
        </p:blipFill>
        <p:spPr>
          <a:xfrm>
            <a:off x="585216" y="1361434"/>
            <a:ext cx="10658475" cy="3448050"/>
          </a:xfrm>
          <a:prstGeom prst="rect">
            <a:avLst/>
          </a:prstGeom>
        </p:spPr>
      </p:pic>
      <p:pic>
        <p:nvPicPr>
          <p:cNvPr id="15" name="Imagen 14"/>
          <p:cNvPicPr>
            <a:picLocks noChangeAspect="1"/>
          </p:cNvPicPr>
          <p:nvPr/>
        </p:nvPicPr>
        <p:blipFill>
          <a:blip r:embed="rId4"/>
          <a:stretch>
            <a:fillRect/>
          </a:stretch>
        </p:blipFill>
        <p:spPr>
          <a:xfrm>
            <a:off x="585216" y="1386754"/>
            <a:ext cx="10877550" cy="2419350"/>
          </a:xfrm>
          <a:prstGeom prst="rect">
            <a:avLst/>
          </a:prstGeom>
        </p:spPr>
      </p:pic>
      <p:pic>
        <p:nvPicPr>
          <p:cNvPr id="16" name="Imagen 15"/>
          <p:cNvPicPr>
            <a:picLocks noChangeAspect="1"/>
          </p:cNvPicPr>
          <p:nvPr/>
        </p:nvPicPr>
        <p:blipFill>
          <a:blip r:embed="rId5"/>
          <a:stretch>
            <a:fillRect/>
          </a:stretch>
        </p:blipFill>
        <p:spPr>
          <a:xfrm>
            <a:off x="585216" y="1361434"/>
            <a:ext cx="10629900" cy="2228850"/>
          </a:xfrm>
          <a:prstGeom prst="rect">
            <a:avLst/>
          </a:prstGeom>
        </p:spPr>
      </p:pic>
      <p:pic>
        <p:nvPicPr>
          <p:cNvPr id="18" name="Imagen 17"/>
          <p:cNvPicPr>
            <a:picLocks noChangeAspect="1"/>
          </p:cNvPicPr>
          <p:nvPr/>
        </p:nvPicPr>
        <p:blipFill>
          <a:blip r:embed="rId6"/>
          <a:stretch>
            <a:fillRect/>
          </a:stretch>
        </p:blipFill>
        <p:spPr>
          <a:xfrm>
            <a:off x="585216" y="1361434"/>
            <a:ext cx="10648950" cy="2209800"/>
          </a:xfrm>
          <a:prstGeom prst="rect">
            <a:avLst/>
          </a:prstGeom>
        </p:spPr>
      </p:pic>
    </p:spTree>
    <p:extLst>
      <p:ext uri="{BB962C8B-B14F-4D97-AF65-F5344CB8AC3E}">
        <p14:creationId xmlns:p14="http://schemas.microsoft.com/office/powerpoint/2010/main" val="123084253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500"/>
                                        <p:tgtEl>
                                          <p:spTgt spid="15"/>
                                        </p:tgtEl>
                                      </p:cBhvr>
                                    </p:animEffect>
                                    <p:set>
                                      <p:cBhvr>
                                        <p:cTn id="14" dur="1" fill="hold">
                                          <p:stCondLst>
                                            <p:cond delay="499"/>
                                          </p:stCondLst>
                                        </p:cTn>
                                        <p:tgtEl>
                                          <p:spTgt spid="15"/>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16"/>
                                        </p:tgtEl>
                                      </p:cBhvr>
                                    </p:animEffect>
                                    <p:set>
                                      <p:cBhvr>
                                        <p:cTn id="21" dur="1" fill="hold">
                                          <p:stCondLst>
                                            <p:cond delay="499"/>
                                          </p:stCondLst>
                                        </p:cTn>
                                        <p:tgtEl>
                                          <p:spTgt spid="16"/>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ctrTitle"/>
          </p:nvPr>
        </p:nvSpPr>
        <p:spPr/>
        <p:txBody>
          <a:bodyPr/>
          <a:lstStyle/>
          <a:p>
            <a:r>
              <a:rPr lang="es-ES" u="sng" dirty="0" smtClean="0"/>
              <a:t>Demo</a:t>
            </a:r>
            <a:endParaRPr lang="es-ES" u="sng" dirty="0"/>
          </a:p>
        </p:txBody>
      </p:sp>
      <p:sp>
        <p:nvSpPr>
          <p:cNvPr id="8" name="Subtítulo 7"/>
          <p:cNvSpPr>
            <a:spLocks noGrp="1"/>
          </p:cNvSpPr>
          <p:nvPr>
            <p:ph type="subTitle" idx="1"/>
          </p:nvPr>
        </p:nvSpPr>
        <p:spPr/>
        <p:txBody>
          <a:bodyPr/>
          <a:lstStyle/>
          <a:p>
            <a:r>
              <a:rPr lang="es-ES" b="1" dirty="0" err="1">
                <a:solidFill>
                  <a:schemeClr val="accent1">
                    <a:lumMod val="75000"/>
                  </a:schemeClr>
                </a:solidFill>
                <a:effectLst>
                  <a:outerShdw blurRad="38100" dist="38100" dir="2700000" algn="tl">
                    <a:srgbClr val="000000">
                      <a:alpha val="43137"/>
                    </a:srgbClr>
                  </a:outerShdw>
                </a:effectLst>
              </a:rPr>
              <a:t>Liskov</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substitution</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dirty="0"/>
          </a:p>
        </p:txBody>
      </p:sp>
      <p:sp>
        <p:nvSpPr>
          <p:cNvPr id="3" name="Marcador de número de diapositiva 2"/>
          <p:cNvSpPr>
            <a:spLocks noGrp="1"/>
          </p:cNvSpPr>
          <p:nvPr>
            <p:ph type="sldNum" sz="quarter" idx="12"/>
          </p:nvPr>
        </p:nvSpPr>
        <p:spPr/>
        <p:txBody>
          <a:bodyPr/>
          <a:lstStyle/>
          <a:p>
            <a:pPr defTabSz="932563"/>
            <a:fld id="{27258FFF-F925-446B-8502-81C933981705}" type="slidenum">
              <a:rPr lang="en-US" smtClean="0">
                <a:solidFill>
                  <a:srgbClr val="505050"/>
                </a:solidFill>
              </a:rPr>
              <a:pPr defTabSz="932563"/>
              <a:t>27</a:t>
            </a:fld>
            <a:endParaRPr lang="en-US" dirty="0">
              <a:solidFill>
                <a:srgbClr val="505050"/>
              </a:solidFill>
            </a:endParaRPr>
          </a:p>
        </p:txBody>
      </p:sp>
    </p:spTree>
    <p:extLst>
      <p:ext uri="{BB962C8B-B14F-4D97-AF65-F5344CB8AC3E}">
        <p14:creationId xmlns:p14="http://schemas.microsoft.com/office/powerpoint/2010/main" val="2730584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Interface </a:t>
            </a:r>
            <a:r>
              <a:rPr lang="es-ES" b="1" dirty="0" err="1">
                <a:solidFill>
                  <a:schemeClr val="accent1">
                    <a:lumMod val="75000"/>
                  </a:schemeClr>
                </a:solidFill>
                <a:effectLst>
                  <a:outerShdw blurRad="38100" dist="38100" dir="2700000" algn="tl">
                    <a:srgbClr val="000000">
                      <a:alpha val="43137"/>
                    </a:srgbClr>
                  </a:outerShdw>
                </a:effectLst>
              </a:rPr>
              <a:t>segregation</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b="1" dirty="0">
              <a:solidFill>
                <a:schemeClr val="accent1">
                  <a:lumMod val="75000"/>
                </a:schemeClr>
              </a:solidFill>
              <a:effectLst>
                <a:outerShdw blurRad="38100" dist="38100" dir="2700000" algn="tl">
                  <a:srgbClr val="000000">
                    <a:alpha val="43137"/>
                  </a:srgbClr>
                </a:outerShdw>
              </a:effectLst>
            </a:endParaRPr>
          </a:p>
        </p:txBody>
      </p:sp>
      <p:pic>
        <p:nvPicPr>
          <p:cNvPr id="3" name="Imagen 2"/>
          <p:cNvPicPr>
            <a:picLocks noChangeAspect="1"/>
          </p:cNvPicPr>
          <p:nvPr/>
        </p:nvPicPr>
        <p:blipFill>
          <a:blip r:embed="rId3"/>
          <a:stretch>
            <a:fillRect/>
          </a:stretch>
        </p:blipFill>
        <p:spPr>
          <a:xfrm>
            <a:off x="585216" y="1477760"/>
            <a:ext cx="11184417" cy="2088000"/>
          </a:xfrm>
          <a:prstGeom prst="rect">
            <a:avLst/>
          </a:prstGeom>
        </p:spPr>
      </p:pic>
      <p:pic>
        <p:nvPicPr>
          <p:cNvPr id="12" name="Imagen 11"/>
          <p:cNvPicPr>
            <a:picLocks noChangeAspect="1"/>
          </p:cNvPicPr>
          <p:nvPr/>
        </p:nvPicPr>
        <p:blipFill>
          <a:blip r:embed="rId4"/>
          <a:stretch>
            <a:fillRect/>
          </a:stretch>
        </p:blipFill>
        <p:spPr>
          <a:xfrm>
            <a:off x="585216" y="1477760"/>
            <a:ext cx="11725275" cy="2105025"/>
          </a:xfrm>
          <a:prstGeom prst="rect">
            <a:avLst/>
          </a:prstGeom>
        </p:spPr>
      </p:pic>
      <p:pic>
        <p:nvPicPr>
          <p:cNvPr id="13" name="Imagen 12"/>
          <p:cNvPicPr>
            <a:picLocks noChangeAspect="1"/>
          </p:cNvPicPr>
          <p:nvPr/>
        </p:nvPicPr>
        <p:blipFill>
          <a:blip r:embed="rId5"/>
          <a:stretch>
            <a:fillRect/>
          </a:stretch>
        </p:blipFill>
        <p:spPr>
          <a:xfrm>
            <a:off x="635000" y="1477760"/>
            <a:ext cx="11801475" cy="2171700"/>
          </a:xfrm>
          <a:prstGeom prst="rect">
            <a:avLst/>
          </a:prstGeom>
        </p:spPr>
      </p:pic>
      <p:pic>
        <p:nvPicPr>
          <p:cNvPr id="14" name="Imagen 13"/>
          <p:cNvPicPr>
            <a:picLocks noChangeAspect="1"/>
          </p:cNvPicPr>
          <p:nvPr/>
        </p:nvPicPr>
        <p:blipFill rotWithShape="1">
          <a:blip r:embed="rId6"/>
          <a:srcRect r="1469"/>
          <a:stretch/>
        </p:blipFill>
        <p:spPr>
          <a:xfrm>
            <a:off x="585216" y="1377747"/>
            <a:ext cx="11768912" cy="2371725"/>
          </a:xfrm>
          <a:prstGeom prst="rect">
            <a:avLst/>
          </a:prstGeom>
        </p:spPr>
      </p:pic>
    </p:spTree>
    <p:extLst>
      <p:ext uri="{BB962C8B-B14F-4D97-AF65-F5344CB8AC3E}">
        <p14:creationId xmlns:p14="http://schemas.microsoft.com/office/powerpoint/2010/main" val="227698398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500"/>
                                        <p:tgtEl>
                                          <p:spTgt spid="12"/>
                                        </p:tgtEl>
                                      </p:cBhvr>
                                    </p:animEffect>
                                    <p:set>
                                      <p:cBhvr>
                                        <p:cTn id="14" dur="1" fill="hold">
                                          <p:stCondLst>
                                            <p:cond delay="499"/>
                                          </p:stCondLst>
                                        </p:cTn>
                                        <p:tgtEl>
                                          <p:spTgt spid="12"/>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13"/>
                                        </p:tgtEl>
                                      </p:cBhvr>
                                    </p:animEffect>
                                    <p:set>
                                      <p:cBhvr>
                                        <p:cTn id="21" dur="1" fill="hold">
                                          <p:stCondLst>
                                            <p:cond delay="499"/>
                                          </p:stCondLst>
                                        </p:cTn>
                                        <p:tgtEl>
                                          <p:spTgt spid="13"/>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ctrTitle"/>
          </p:nvPr>
        </p:nvSpPr>
        <p:spPr/>
        <p:txBody>
          <a:bodyPr/>
          <a:lstStyle/>
          <a:p>
            <a:r>
              <a:rPr lang="es-ES" u="sng" dirty="0" smtClean="0"/>
              <a:t>Demo</a:t>
            </a:r>
            <a:endParaRPr lang="es-ES" u="sng" dirty="0"/>
          </a:p>
        </p:txBody>
      </p:sp>
      <p:sp>
        <p:nvSpPr>
          <p:cNvPr id="8" name="Subtítulo 7"/>
          <p:cNvSpPr>
            <a:spLocks noGrp="1"/>
          </p:cNvSpPr>
          <p:nvPr>
            <p:ph type="subTitle" idx="1"/>
          </p:nvPr>
        </p:nvSpPr>
        <p:spPr/>
        <p:txBody>
          <a:bodyPr/>
          <a:lstStyle/>
          <a:p>
            <a:r>
              <a:rPr lang="es-ES" b="1" dirty="0">
                <a:solidFill>
                  <a:schemeClr val="accent1">
                    <a:lumMod val="75000"/>
                  </a:schemeClr>
                </a:solidFill>
                <a:effectLst>
                  <a:outerShdw blurRad="38100" dist="38100" dir="2700000" algn="tl">
                    <a:srgbClr val="000000">
                      <a:alpha val="43137"/>
                    </a:srgbClr>
                  </a:outerShdw>
                </a:effectLst>
              </a:rPr>
              <a:t>Interface </a:t>
            </a:r>
            <a:r>
              <a:rPr lang="es-ES" b="1" dirty="0" err="1">
                <a:solidFill>
                  <a:schemeClr val="accent1">
                    <a:lumMod val="75000"/>
                  </a:schemeClr>
                </a:solidFill>
                <a:effectLst>
                  <a:outerShdw blurRad="38100" dist="38100" dir="2700000" algn="tl">
                    <a:srgbClr val="000000">
                      <a:alpha val="43137"/>
                    </a:srgbClr>
                  </a:outerShdw>
                </a:effectLst>
              </a:rPr>
              <a:t>segregation</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dirty="0"/>
          </a:p>
        </p:txBody>
      </p:sp>
      <p:sp>
        <p:nvSpPr>
          <p:cNvPr id="3" name="Marcador de número de diapositiva 2"/>
          <p:cNvSpPr>
            <a:spLocks noGrp="1"/>
          </p:cNvSpPr>
          <p:nvPr>
            <p:ph type="sldNum" sz="quarter" idx="12"/>
          </p:nvPr>
        </p:nvSpPr>
        <p:spPr/>
        <p:txBody>
          <a:bodyPr/>
          <a:lstStyle/>
          <a:p>
            <a:pPr defTabSz="932563"/>
            <a:fld id="{27258FFF-F925-446B-8502-81C933981705}" type="slidenum">
              <a:rPr lang="en-US" smtClean="0">
                <a:solidFill>
                  <a:srgbClr val="505050"/>
                </a:solidFill>
              </a:rPr>
              <a:pPr defTabSz="932563"/>
              <a:t>29</a:t>
            </a:fld>
            <a:endParaRPr lang="en-US" dirty="0">
              <a:solidFill>
                <a:srgbClr val="505050"/>
              </a:solidFill>
            </a:endParaRPr>
          </a:p>
        </p:txBody>
      </p:sp>
    </p:spTree>
    <p:extLst>
      <p:ext uri="{BB962C8B-B14F-4D97-AF65-F5344CB8AC3E}">
        <p14:creationId xmlns:p14="http://schemas.microsoft.com/office/powerpoint/2010/main" val="6728233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err="1" smtClean="0"/>
              <a:t>Unit</a:t>
            </a:r>
            <a:r>
              <a:rPr lang="es-ES" dirty="0" smtClean="0"/>
              <a:t> </a:t>
            </a:r>
            <a:r>
              <a:rPr lang="es-ES" dirty="0" err="1" smtClean="0"/>
              <a:t>Testing</a:t>
            </a:r>
            <a:r>
              <a:rPr lang="es-ES" dirty="0" smtClean="0"/>
              <a:t> - ¿Qué es?</a:t>
            </a:r>
            <a:endParaRPr lang="es-ES" dirty="0"/>
          </a:p>
        </p:txBody>
      </p:sp>
      <p:graphicFrame>
        <p:nvGraphicFramePr>
          <p:cNvPr id="5" name="Diagrama 4"/>
          <p:cNvGraphicFramePr/>
          <p:nvPr>
            <p:extLst>
              <p:ext uri="{D42A27DB-BD31-4B8C-83A1-F6EECF244321}">
                <p14:modId xmlns:p14="http://schemas.microsoft.com/office/powerpoint/2010/main" val="1450599108"/>
              </p:ext>
            </p:extLst>
          </p:nvPr>
        </p:nvGraphicFramePr>
        <p:xfrm>
          <a:off x="586339" y="2820114"/>
          <a:ext cx="11226196" cy="3298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a 5"/>
          <p:cNvGraphicFramePr/>
          <p:nvPr>
            <p:extLst>
              <p:ext uri="{D42A27DB-BD31-4B8C-83A1-F6EECF244321}">
                <p14:modId xmlns:p14="http://schemas.microsoft.com/office/powerpoint/2010/main" val="2406104235"/>
              </p:ext>
            </p:extLst>
          </p:nvPr>
        </p:nvGraphicFramePr>
        <p:xfrm>
          <a:off x="585216" y="1237816"/>
          <a:ext cx="11226195" cy="129266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8045425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5">
                                            <p:graphicEl>
                                              <a:dgm id="{D88039E6-0588-4ACE-A420-6AE37328C0AA}"/>
                                            </p:graphicEl>
                                          </p:spTgt>
                                        </p:tgtEl>
                                        <p:attrNameLst>
                                          <p:attrName>style.visibility</p:attrName>
                                        </p:attrNameLst>
                                      </p:cBhvr>
                                      <p:to>
                                        <p:strVal val="visible"/>
                                      </p:to>
                                    </p:set>
                                    <p:animEffect transition="in" filter="fade">
                                      <p:cBhvr>
                                        <p:cTn id="12" dur="1000"/>
                                        <p:tgtEl>
                                          <p:spTgt spid="5">
                                            <p:graphicEl>
                                              <a:dgm id="{D88039E6-0588-4ACE-A420-6AE37328C0AA}"/>
                                            </p:graphicEl>
                                          </p:spTgt>
                                        </p:tgtEl>
                                      </p:cBhvr>
                                    </p:animEffect>
                                    <p:anim calcmode="lin" valueType="num">
                                      <p:cBhvr>
                                        <p:cTn id="13" dur="1000" fill="hold"/>
                                        <p:tgtEl>
                                          <p:spTgt spid="5">
                                            <p:graphicEl>
                                              <a:dgm id="{D88039E6-0588-4ACE-A420-6AE37328C0AA}"/>
                                            </p:graphicEl>
                                          </p:spTgt>
                                        </p:tgtEl>
                                        <p:attrNameLst>
                                          <p:attrName>ppt_x</p:attrName>
                                        </p:attrNameLst>
                                      </p:cBhvr>
                                      <p:tavLst>
                                        <p:tav tm="0">
                                          <p:val>
                                            <p:strVal val="#ppt_x"/>
                                          </p:val>
                                        </p:tav>
                                        <p:tav tm="100000">
                                          <p:val>
                                            <p:strVal val="#ppt_x"/>
                                          </p:val>
                                        </p:tav>
                                      </p:tavLst>
                                    </p:anim>
                                    <p:anim calcmode="lin" valueType="num">
                                      <p:cBhvr>
                                        <p:cTn id="14" dur="1000" fill="hold"/>
                                        <p:tgtEl>
                                          <p:spTgt spid="5">
                                            <p:graphicEl>
                                              <a:dgm id="{D88039E6-0588-4ACE-A420-6AE37328C0AA}"/>
                                            </p:graphic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
                                            <p:graphicEl>
                                              <a:dgm id="{AE94C17C-8A9A-4C26-BF62-F6A5EA0CFA6F}"/>
                                            </p:graphicEl>
                                          </p:spTgt>
                                        </p:tgtEl>
                                        <p:attrNameLst>
                                          <p:attrName>style.visibility</p:attrName>
                                        </p:attrNameLst>
                                      </p:cBhvr>
                                      <p:to>
                                        <p:strVal val="visible"/>
                                      </p:to>
                                    </p:set>
                                    <p:animEffect transition="in" filter="fade">
                                      <p:cBhvr>
                                        <p:cTn id="19" dur="1000"/>
                                        <p:tgtEl>
                                          <p:spTgt spid="5">
                                            <p:graphicEl>
                                              <a:dgm id="{AE94C17C-8A9A-4C26-BF62-F6A5EA0CFA6F}"/>
                                            </p:graphicEl>
                                          </p:spTgt>
                                        </p:tgtEl>
                                      </p:cBhvr>
                                    </p:animEffect>
                                    <p:anim calcmode="lin" valueType="num">
                                      <p:cBhvr>
                                        <p:cTn id="20" dur="1000" fill="hold"/>
                                        <p:tgtEl>
                                          <p:spTgt spid="5">
                                            <p:graphicEl>
                                              <a:dgm id="{AE94C17C-8A9A-4C26-BF62-F6A5EA0CFA6F}"/>
                                            </p:graphicEl>
                                          </p:spTgt>
                                        </p:tgtEl>
                                        <p:attrNameLst>
                                          <p:attrName>ppt_x</p:attrName>
                                        </p:attrNameLst>
                                      </p:cBhvr>
                                      <p:tavLst>
                                        <p:tav tm="0">
                                          <p:val>
                                            <p:strVal val="#ppt_x"/>
                                          </p:val>
                                        </p:tav>
                                        <p:tav tm="100000">
                                          <p:val>
                                            <p:strVal val="#ppt_x"/>
                                          </p:val>
                                        </p:tav>
                                      </p:tavLst>
                                    </p:anim>
                                    <p:anim calcmode="lin" valueType="num">
                                      <p:cBhvr>
                                        <p:cTn id="21" dur="1000" fill="hold"/>
                                        <p:tgtEl>
                                          <p:spTgt spid="5">
                                            <p:graphicEl>
                                              <a:dgm id="{AE94C17C-8A9A-4C26-BF62-F6A5EA0CFA6F}"/>
                                            </p:graphic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5">
                                            <p:graphicEl>
                                              <a:dgm id="{E38304AC-ADB4-4223-8501-6B01AEEF30AC}"/>
                                            </p:graphicEl>
                                          </p:spTgt>
                                        </p:tgtEl>
                                        <p:attrNameLst>
                                          <p:attrName>style.visibility</p:attrName>
                                        </p:attrNameLst>
                                      </p:cBhvr>
                                      <p:to>
                                        <p:strVal val="visible"/>
                                      </p:to>
                                    </p:set>
                                    <p:animEffect transition="in" filter="fade">
                                      <p:cBhvr>
                                        <p:cTn id="26" dur="1000"/>
                                        <p:tgtEl>
                                          <p:spTgt spid="5">
                                            <p:graphicEl>
                                              <a:dgm id="{E38304AC-ADB4-4223-8501-6B01AEEF30AC}"/>
                                            </p:graphicEl>
                                          </p:spTgt>
                                        </p:tgtEl>
                                      </p:cBhvr>
                                    </p:animEffect>
                                    <p:anim calcmode="lin" valueType="num">
                                      <p:cBhvr>
                                        <p:cTn id="27" dur="1000" fill="hold"/>
                                        <p:tgtEl>
                                          <p:spTgt spid="5">
                                            <p:graphicEl>
                                              <a:dgm id="{E38304AC-ADB4-4223-8501-6B01AEEF30AC}"/>
                                            </p:graphicEl>
                                          </p:spTgt>
                                        </p:tgtEl>
                                        <p:attrNameLst>
                                          <p:attrName>ppt_x</p:attrName>
                                        </p:attrNameLst>
                                      </p:cBhvr>
                                      <p:tavLst>
                                        <p:tav tm="0">
                                          <p:val>
                                            <p:strVal val="#ppt_x"/>
                                          </p:val>
                                        </p:tav>
                                        <p:tav tm="100000">
                                          <p:val>
                                            <p:strVal val="#ppt_x"/>
                                          </p:val>
                                        </p:tav>
                                      </p:tavLst>
                                    </p:anim>
                                    <p:anim calcmode="lin" valueType="num">
                                      <p:cBhvr>
                                        <p:cTn id="28" dur="1000" fill="hold"/>
                                        <p:tgtEl>
                                          <p:spTgt spid="5">
                                            <p:graphicEl>
                                              <a:dgm id="{E38304AC-ADB4-4223-8501-6B01AEEF30AC}"/>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Graphic spid="6" grpId="0">
        <p:bldAsOne/>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b="1" dirty="0" err="1">
                <a:solidFill>
                  <a:schemeClr val="accent1">
                    <a:lumMod val="75000"/>
                  </a:schemeClr>
                </a:solidFill>
                <a:effectLst>
                  <a:outerShdw blurRad="38100" dist="38100" dir="2700000" algn="tl">
                    <a:srgbClr val="000000">
                      <a:alpha val="43137"/>
                    </a:srgbClr>
                  </a:outerShdw>
                </a:effectLst>
              </a:rPr>
              <a:t>Dependency</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inversion</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b="1" dirty="0">
              <a:solidFill>
                <a:schemeClr val="accent1">
                  <a:lumMod val="75000"/>
                </a:schemeClr>
              </a:solidFill>
              <a:effectLst>
                <a:outerShdw blurRad="38100" dist="38100" dir="2700000" algn="tl">
                  <a:srgbClr val="000000">
                    <a:alpha val="43137"/>
                  </a:srgbClr>
                </a:outerShdw>
              </a:effectLst>
            </a:endParaRPr>
          </a:p>
        </p:txBody>
      </p:sp>
      <p:pic>
        <p:nvPicPr>
          <p:cNvPr id="3" name="Imagen 2"/>
          <p:cNvPicPr>
            <a:picLocks noChangeAspect="1"/>
          </p:cNvPicPr>
          <p:nvPr/>
        </p:nvPicPr>
        <p:blipFill>
          <a:blip r:embed="rId3"/>
          <a:stretch>
            <a:fillRect/>
          </a:stretch>
        </p:blipFill>
        <p:spPr>
          <a:xfrm>
            <a:off x="489965" y="1352741"/>
            <a:ext cx="9953625" cy="2971800"/>
          </a:xfrm>
          <a:prstGeom prst="rect">
            <a:avLst/>
          </a:prstGeom>
        </p:spPr>
      </p:pic>
      <p:pic>
        <p:nvPicPr>
          <p:cNvPr id="4" name="Imagen 3"/>
          <p:cNvPicPr>
            <a:picLocks noChangeAspect="1"/>
          </p:cNvPicPr>
          <p:nvPr/>
        </p:nvPicPr>
        <p:blipFill>
          <a:blip r:embed="rId4"/>
          <a:stretch>
            <a:fillRect/>
          </a:stretch>
        </p:blipFill>
        <p:spPr>
          <a:xfrm>
            <a:off x="489965" y="1352741"/>
            <a:ext cx="10153650" cy="2981325"/>
          </a:xfrm>
          <a:prstGeom prst="rect">
            <a:avLst/>
          </a:prstGeom>
        </p:spPr>
      </p:pic>
      <p:pic>
        <p:nvPicPr>
          <p:cNvPr id="5" name="Imagen 4"/>
          <p:cNvPicPr>
            <a:picLocks noChangeAspect="1"/>
          </p:cNvPicPr>
          <p:nvPr/>
        </p:nvPicPr>
        <p:blipFill>
          <a:blip r:embed="rId5"/>
          <a:stretch>
            <a:fillRect/>
          </a:stretch>
        </p:blipFill>
        <p:spPr>
          <a:xfrm>
            <a:off x="489965" y="1352741"/>
            <a:ext cx="10277475" cy="2352675"/>
          </a:xfrm>
          <a:prstGeom prst="rect">
            <a:avLst/>
          </a:prstGeom>
        </p:spPr>
      </p:pic>
      <p:pic>
        <p:nvPicPr>
          <p:cNvPr id="7" name="Imagen 6"/>
          <p:cNvPicPr>
            <a:picLocks noChangeAspect="1"/>
          </p:cNvPicPr>
          <p:nvPr/>
        </p:nvPicPr>
        <p:blipFill>
          <a:blip r:embed="rId6"/>
          <a:stretch>
            <a:fillRect/>
          </a:stretch>
        </p:blipFill>
        <p:spPr>
          <a:xfrm>
            <a:off x="489965" y="1352741"/>
            <a:ext cx="9944100" cy="2962275"/>
          </a:xfrm>
          <a:prstGeom prst="rect">
            <a:avLst/>
          </a:prstGeom>
        </p:spPr>
      </p:pic>
    </p:spTree>
    <p:extLst>
      <p:ext uri="{BB962C8B-B14F-4D97-AF65-F5344CB8AC3E}">
        <p14:creationId xmlns:p14="http://schemas.microsoft.com/office/powerpoint/2010/main" val="173528923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500"/>
                                        <p:tgtEl>
                                          <p:spTgt spid="4"/>
                                        </p:tgtEl>
                                      </p:cBhvr>
                                    </p:animEffect>
                                    <p:set>
                                      <p:cBhvr>
                                        <p:cTn id="14" dur="1" fill="hold">
                                          <p:stCondLst>
                                            <p:cond delay="499"/>
                                          </p:stCondLst>
                                        </p:cTn>
                                        <p:tgtEl>
                                          <p:spTgt spid="4"/>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5"/>
                                        </p:tgtEl>
                                      </p:cBhvr>
                                    </p:animEffect>
                                    <p:set>
                                      <p:cBhvr>
                                        <p:cTn id="21" dur="1" fill="hold">
                                          <p:stCondLst>
                                            <p:cond delay="499"/>
                                          </p:stCondLst>
                                        </p:cTn>
                                        <p:tgtEl>
                                          <p:spTgt spid="5"/>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ctrTitle"/>
          </p:nvPr>
        </p:nvSpPr>
        <p:spPr/>
        <p:txBody>
          <a:bodyPr/>
          <a:lstStyle/>
          <a:p>
            <a:r>
              <a:rPr lang="es-ES" u="sng" dirty="0" smtClean="0"/>
              <a:t>Demo</a:t>
            </a:r>
            <a:endParaRPr lang="es-ES" u="sng" dirty="0"/>
          </a:p>
        </p:txBody>
      </p:sp>
      <p:sp>
        <p:nvSpPr>
          <p:cNvPr id="8" name="Subtítulo 7"/>
          <p:cNvSpPr>
            <a:spLocks noGrp="1"/>
          </p:cNvSpPr>
          <p:nvPr>
            <p:ph type="subTitle" idx="1"/>
          </p:nvPr>
        </p:nvSpPr>
        <p:spPr/>
        <p:txBody>
          <a:bodyPr/>
          <a:lstStyle/>
          <a:p>
            <a:r>
              <a:rPr lang="es-ES" b="1" dirty="0" err="1">
                <a:solidFill>
                  <a:schemeClr val="accent1">
                    <a:lumMod val="75000"/>
                  </a:schemeClr>
                </a:solidFill>
                <a:effectLst>
                  <a:outerShdw blurRad="38100" dist="38100" dir="2700000" algn="tl">
                    <a:srgbClr val="000000">
                      <a:alpha val="43137"/>
                    </a:srgbClr>
                  </a:outerShdw>
                </a:effectLst>
              </a:rPr>
              <a:t>Dependency</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inversion</a:t>
            </a:r>
            <a:r>
              <a:rPr lang="es-ES" b="1" dirty="0">
                <a:solidFill>
                  <a:schemeClr val="accent1">
                    <a:lumMod val="75000"/>
                  </a:schemeClr>
                </a:solidFill>
                <a:effectLst>
                  <a:outerShdw blurRad="38100" dist="38100" dir="2700000" algn="tl">
                    <a:srgbClr val="000000">
                      <a:alpha val="43137"/>
                    </a:srgbClr>
                  </a:outerShdw>
                </a:effectLst>
              </a:rPr>
              <a:t> </a:t>
            </a:r>
            <a:r>
              <a:rPr lang="es-ES" b="1" dirty="0" err="1">
                <a:solidFill>
                  <a:schemeClr val="accent1">
                    <a:lumMod val="75000"/>
                  </a:schemeClr>
                </a:solidFill>
                <a:effectLst>
                  <a:outerShdw blurRad="38100" dist="38100" dir="2700000" algn="tl">
                    <a:srgbClr val="000000">
                      <a:alpha val="43137"/>
                    </a:srgbClr>
                  </a:outerShdw>
                </a:effectLst>
              </a:rPr>
              <a:t>principle</a:t>
            </a:r>
            <a:endParaRPr lang="es-ES" dirty="0"/>
          </a:p>
        </p:txBody>
      </p:sp>
      <p:sp>
        <p:nvSpPr>
          <p:cNvPr id="3" name="Marcador de número de diapositiva 2"/>
          <p:cNvSpPr>
            <a:spLocks noGrp="1"/>
          </p:cNvSpPr>
          <p:nvPr>
            <p:ph type="sldNum" sz="quarter" idx="12"/>
          </p:nvPr>
        </p:nvSpPr>
        <p:spPr/>
        <p:txBody>
          <a:bodyPr/>
          <a:lstStyle/>
          <a:p>
            <a:pPr defTabSz="932563"/>
            <a:fld id="{27258FFF-F925-446B-8502-81C933981705}" type="slidenum">
              <a:rPr lang="en-US" smtClean="0">
                <a:solidFill>
                  <a:srgbClr val="505050"/>
                </a:solidFill>
              </a:rPr>
              <a:pPr defTabSz="932563"/>
              <a:t>31</a:t>
            </a:fld>
            <a:endParaRPr lang="en-US" dirty="0">
              <a:solidFill>
                <a:srgbClr val="505050"/>
              </a:solidFill>
            </a:endParaRPr>
          </a:p>
        </p:txBody>
      </p:sp>
    </p:spTree>
    <p:extLst>
      <p:ext uri="{BB962C8B-B14F-4D97-AF65-F5344CB8AC3E}">
        <p14:creationId xmlns:p14="http://schemas.microsoft.com/office/powerpoint/2010/main" val="14522552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ítulo 7"/>
          <p:cNvSpPr>
            <a:spLocks noGrp="1"/>
          </p:cNvSpPr>
          <p:nvPr>
            <p:ph type="subTitle" idx="1"/>
          </p:nvPr>
        </p:nvSpPr>
        <p:spPr>
          <a:xfrm>
            <a:off x="1789021" y="2735899"/>
            <a:ext cx="9327356" cy="1688724"/>
          </a:xfrm>
        </p:spPr>
        <p:txBody>
          <a:bodyPr>
            <a:normAutofit fontScale="92500" lnSpcReduction="10000"/>
          </a:bodyPr>
          <a:lstStyle/>
          <a:p>
            <a:pPr marL="342900" indent="-342900">
              <a:buFont typeface="Wingdings" panose="05000000000000000000" pitchFamily="2" charset="2"/>
              <a:buChar char="ü"/>
            </a:pPr>
            <a:r>
              <a:rPr lang="es-ES" sz="2800" dirty="0" smtClean="0"/>
              <a:t>No son reglas, son guías</a:t>
            </a:r>
          </a:p>
          <a:p>
            <a:pPr marL="342900" indent="-342900">
              <a:buFont typeface="Wingdings" panose="05000000000000000000" pitchFamily="2" charset="2"/>
              <a:buChar char="ü"/>
            </a:pPr>
            <a:endParaRPr lang="es-ES" sz="2800" dirty="0"/>
          </a:p>
          <a:p>
            <a:pPr marL="342900" indent="-342900">
              <a:buFont typeface="Wingdings" panose="05000000000000000000" pitchFamily="2" charset="2"/>
              <a:buChar char="ü"/>
            </a:pPr>
            <a:r>
              <a:rPr lang="es-ES" sz="2800" dirty="0" smtClean="0"/>
              <a:t>Piensa una estructura que se adapte a tus necesidades y que encaje con los principios SOLID</a:t>
            </a:r>
          </a:p>
          <a:p>
            <a:endParaRPr lang="es-ES" dirty="0"/>
          </a:p>
        </p:txBody>
      </p:sp>
      <p:sp>
        <p:nvSpPr>
          <p:cNvPr id="3" name="Marcador de número de diapositiva 2"/>
          <p:cNvSpPr>
            <a:spLocks noGrp="1"/>
          </p:cNvSpPr>
          <p:nvPr>
            <p:ph type="sldNum" sz="quarter" idx="12"/>
          </p:nvPr>
        </p:nvSpPr>
        <p:spPr/>
        <p:txBody>
          <a:bodyPr/>
          <a:lstStyle/>
          <a:p>
            <a:pPr defTabSz="932563"/>
            <a:fld id="{27258FFF-F925-446B-8502-81C933981705}" type="slidenum">
              <a:rPr lang="en-US" smtClean="0">
                <a:solidFill>
                  <a:srgbClr val="505050"/>
                </a:solidFill>
              </a:rPr>
              <a:pPr defTabSz="932563"/>
              <a:t>32</a:t>
            </a:fld>
            <a:endParaRPr lang="en-US" dirty="0">
              <a:solidFill>
                <a:srgbClr val="505050"/>
              </a:solidFill>
            </a:endParaRPr>
          </a:p>
        </p:txBody>
      </p:sp>
      <p:sp>
        <p:nvSpPr>
          <p:cNvPr id="5" name="Título 1"/>
          <p:cNvSpPr txBox="1">
            <a:spLocks/>
          </p:cNvSpPr>
          <p:nvPr/>
        </p:nvSpPr>
        <p:spPr>
          <a:xfrm>
            <a:off x="605140" y="974334"/>
            <a:ext cx="11226195" cy="1097302"/>
          </a:xfrm>
          <a:prstGeom prst="rect">
            <a:avLst/>
          </a:prstGeom>
        </p:spPr>
        <p:txBody>
          <a:bodyPr vert="horz" lIns="91440" tIns="45720" rIns="91440" bIns="45720" rtlCol="0" anchor="b">
            <a:normAutofit/>
          </a:bodyPr>
          <a:lstStyle>
            <a:lvl1pPr algn="ctr" defTabSz="932597" rtl="0" eaLnBrk="1" latinLnBrk="0" hangingPunct="1">
              <a:lnSpc>
                <a:spcPct val="90000"/>
              </a:lnSpc>
              <a:spcBef>
                <a:spcPct val="0"/>
              </a:spcBef>
              <a:buNone/>
              <a:defRPr sz="6119" kern="1200">
                <a:solidFill>
                  <a:schemeClr val="tx1"/>
                </a:solidFill>
                <a:latin typeface="+mj-lt"/>
                <a:ea typeface="+mj-ea"/>
                <a:cs typeface="+mj-cs"/>
              </a:defRPr>
            </a:lvl1pPr>
          </a:lstStyle>
          <a:p>
            <a:pPr fontAlgn="auto">
              <a:spcAft>
                <a:spcPts val="0"/>
              </a:spcAft>
            </a:pPr>
            <a:r>
              <a:rPr lang="es-ES" sz="6600" b="1" spc="-102" dirty="0">
                <a:ln w="3175">
                  <a:noFill/>
                </a:ln>
                <a:solidFill>
                  <a:schemeClr val="accent1">
                    <a:lumMod val="75000"/>
                  </a:schemeClr>
                </a:solidFill>
                <a:effectLst>
                  <a:outerShdw blurRad="38100" dist="38100" dir="2700000" algn="tl">
                    <a:srgbClr val="000000">
                      <a:alpha val="43137"/>
                    </a:srgbClr>
                  </a:outerShdw>
                </a:effectLst>
                <a:cs typeface="Segoe UI" pitchFamily="34" charset="0"/>
              </a:rPr>
              <a:t>Conclusiones SOLID</a:t>
            </a:r>
            <a:endParaRPr lang="es-ES" b="1" dirty="0">
              <a:solidFill>
                <a:schemeClr val="accent1">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611445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Otros conceptos básicos</a:t>
            </a:r>
            <a:endParaRPr lang="es-ES" dirty="0"/>
          </a:p>
        </p:txBody>
      </p:sp>
      <p:graphicFrame>
        <p:nvGraphicFramePr>
          <p:cNvPr id="4" name="Diagrama 3"/>
          <p:cNvGraphicFramePr/>
          <p:nvPr>
            <p:extLst>
              <p:ext uri="{D42A27DB-BD31-4B8C-83A1-F6EECF244321}">
                <p14:modId xmlns:p14="http://schemas.microsoft.com/office/powerpoint/2010/main" val="2211430064"/>
              </p:ext>
            </p:extLst>
          </p:nvPr>
        </p:nvGraphicFramePr>
        <p:xfrm>
          <a:off x="2072746" y="1092199"/>
          <a:ext cx="8290983" cy="5579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5658842"/>
      </p:ext>
    </p:extLst>
  </p:cSld>
  <p:clrMapOvr>
    <a:masterClrMapping/>
  </p:clrMapOvr>
  <p:transition spd="slow">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Patrones arquitecturales: N-</a:t>
            </a:r>
            <a:r>
              <a:rPr lang="es-ES" dirty="0" err="1" smtClean="0"/>
              <a:t>Layer</a:t>
            </a:r>
            <a:endParaRPr lang="es-ES" dirty="0"/>
          </a:p>
        </p:txBody>
      </p:sp>
    </p:spTree>
    <p:extLst>
      <p:ext uri="{BB962C8B-B14F-4D97-AF65-F5344CB8AC3E}">
        <p14:creationId xmlns:p14="http://schemas.microsoft.com/office/powerpoint/2010/main" val="4076681027"/>
      </p:ext>
    </p:extLst>
  </p:cSld>
  <p:clrMapOvr>
    <a:masterClrMapping/>
  </p:clrMapOvr>
  <p:transition spd="slow">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Patrones arquitecturales: MV*</a:t>
            </a:r>
            <a:endParaRPr lang="es-ES" dirty="0"/>
          </a:p>
        </p:txBody>
      </p:sp>
    </p:spTree>
    <p:extLst>
      <p:ext uri="{BB962C8B-B14F-4D97-AF65-F5344CB8AC3E}">
        <p14:creationId xmlns:p14="http://schemas.microsoft.com/office/powerpoint/2010/main" val="1760979894"/>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err="1" smtClean="0"/>
              <a:t>Unit</a:t>
            </a:r>
            <a:r>
              <a:rPr lang="es-ES" dirty="0" smtClean="0"/>
              <a:t> </a:t>
            </a:r>
            <a:r>
              <a:rPr lang="es-ES" dirty="0" err="1" smtClean="0"/>
              <a:t>Testing</a:t>
            </a:r>
            <a:r>
              <a:rPr lang="es-ES" dirty="0" smtClean="0"/>
              <a:t> - ¿Para qué?</a:t>
            </a:r>
            <a:endParaRPr lang="es-ES" dirty="0"/>
          </a:p>
        </p:txBody>
      </p:sp>
      <p:sp>
        <p:nvSpPr>
          <p:cNvPr id="3" name="Marcador de número de diapositiva 2"/>
          <p:cNvSpPr>
            <a:spLocks noGrp="1"/>
          </p:cNvSpPr>
          <p:nvPr>
            <p:ph type="sldNum" sz="quarter" idx="11"/>
          </p:nvPr>
        </p:nvSpPr>
        <p:spPr/>
        <p:txBody>
          <a:bodyPr/>
          <a:lstStyle/>
          <a:p>
            <a:pPr defTabSz="932563"/>
            <a:fld id="{27258FFF-F925-446B-8502-81C933981705}" type="slidenum">
              <a:rPr lang="en-US" smtClean="0">
                <a:solidFill>
                  <a:srgbClr val="505050"/>
                </a:solidFill>
              </a:rPr>
              <a:pPr defTabSz="932563"/>
              <a:t>4</a:t>
            </a:fld>
            <a:endParaRPr lang="en-US" dirty="0">
              <a:solidFill>
                <a:srgbClr val="505050"/>
              </a:solidFill>
            </a:endParaRPr>
          </a:p>
        </p:txBody>
      </p:sp>
      <p:graphicFrame>
        <p:nvGraphicFramePr>
          <p:cNvPr id="5" name="Diagrama 4"/>
          <p:cNvGraphicFramePr/>
          <p:nvPr>
            <p:extLst>
              <p:ext uri="{D42A27DB-BD31-4B8C-83A1-F6EECF244321}">
                <p14:modId xmlns:p14="http://schemas.microsoft.com/office/powerpoint/2010/main" val="3292246505"/>
              </p:ext>
            </p:extLst>
          </p:nvPr>
        </p:nvGraphicFramePr>
        <p:xfrm>
          <a:off x="603504" y="1092200"/>
          <a:ext cx="11226196" cy="54731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2921787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graphicEl>
                                              <a:dgm id="{6E562442-7F01-4082-9CDE-3F671043AD86}"/>
                                            </p:graphicEl>
                                          </p:spTgt>
                                        </p:tgtEl>
                                        <p:attrNameLst>
                                          <p:attrName>style.visibility</p:attrName>
                                        </p:attrNameLst>
                                      </p:cBhvr>
                                      <p:to>
                                        <p:strVal val="visible"/>
                                      </p:to>
                                    </p:set>
                                    <p:anim calcmode="lin" valueType="num">
                                      <p:cBhvr additive="base">
                                        <p:cTn id="7" dur="500" fill="hold"/>
                                        <p:tgtEl>
                                          <p:spTgt spid="5">
                                            <p:graphicEl>
                                              <a:dgm id="{6E562442-7F01-4082-9CDE-3F671043AD86}"/>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graphicEl>
                                              <a:dgm id="{6E562442-7F01-4082-9CDE-3F671043AD86}"/>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graphicEl>
                                              <a:dgm id="{8F741DEA-75A9-421C-965C-209E3872AAE5}"/>
                                            </p:graphicEl>
                                          </p:spTgt>
                                        </p:tgtEl>
                                        <p:attrNameLst>
                                          <p:attrName>style.visibility</p:attrName>
                                        </p:attrNameLst>
                                      </p:cBhvr>
                                      <p:to>
                                        <p:strVal val="visible"/>
                                      </p:to>
                                    </p:set>
                                    <p:anim calcmode="lin" valueType="num">
                                      <p:cBhvr additive="base">
                                        <p:cTn id="13" dur="500" fill="hold"/>
                                        <p:tgtEl>
                                          <p:spTgt spid="5">
                                            <p:graphicEl>
                                              <a:dgm id="{8F741DEA-75A9-421C-965C-209E3872AAE5}"/>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graphicEl>
                                              <a:dgm id="{8F741DEA-75A9-421C-965C-209E3872AAE5}"/>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graphicEl>
                                              <a:dgm id="{29170124-A748-47FD-B058-9147886B6900}"/>
                                            </p:graphicEl>
                                          </p:spTgt>
                                        </p:tgtEl>
                                        <p:attrNameLst>
                                          <p:attrName>style.visibility</p:attrName>
                                        </p:attrNameLst>
                                      </p:cBhvr>
                                      <p:to>
                                        <p:strVal val="visible"/>
                                      </p:to>
                                    </p:set>
                                    <p:anim calcmode="lin" valueType="num">
                                      <p:cBhvr additive="base">
                                        <p:cTn id="19" dur="500" fill="hold"/>
                                        <p:tgtEl>
                                          <p:spTgt spid="5">
                                            <p:graphicEl>
                                              <a:dgm id="{29170124-A748-47FD-B058-9147886B6900}"/>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graphicEl>
                                              <a:dgm id="{29170124-A748-47FD-B058-9147886B6900}"/>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graphicEl>
                                              <a:dgm id="{ADD13D07-7ED8-453F-A1C5-8DC269C50EFA}"/>
                                            </p:graphicEl>
                                          </p:spTgt>
                                        </p:tgtEl>
                                        <p:attrNameLst>
                                          <p:attrName>style.visibility</p:attrName>
                                        </p:attrNameLst>
                                      </p:cBhvr>
                                      <p:to>
                                        <p:strVal val="visible"/>
                                      </p:to>
                                    </p:set>
                                    <p:anim calcmode="lin" valueType="num">
                                      <p:cBhvr additive="base">
                                        <p:cTn id="25" dur="500" fill="hold"/>
                                        <p:tgtEl>
                                          <p:spTgt spid="5">
                                            <p:graphicEl>
                                              <a:dgm id="{ADD13D07-7ED8-453F-A1C5-8DC269C50EFA}"/>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graphicEl>
                                              <a:dgm id="{ADD13D07-7ED8-453F-A1C5-8DC269C50EFA}"/>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
                                            <p:graphicEl>
                                              <a:dgm id="{EE1AD920-64EC-4F82-A5DB-95AE4DCCA71B}"/>
                                            </p:graphicEl>
                                          </p:spTgt>
                                        </p:tgtEl>
                                        <p:attrNameLst>
                                          <p:attrName>style.visibility</p:attrName>
                                        </p:attrNameLst>
                                      </p:cBhvr>
                                      <p:to>
                                        <p:strVal val="visible"/>
                                      </p:to>
                                    </p:set>
                                    <p:anim calcmode="lin" valueType="num">
                                      <p:cBhvr additive="base">
                                        <p:cTn id="31" dur="500" fill="hold"/>
                                        <p:tgtEl>
                                          <p:spTgt spid="5">
                                            <p:graphicEl>
                                              <a:dgm id="{EE1AD920-64EC-4F82-A5DB-95AE4DCCA71B}"/>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graphicEl>
                                              <a:dgm id="{EE1AD920-64EC-4F82-A5DB-95AE4DCCA71B}"/>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5">
                                            <p:graphicEl>
                                              <a:dgm id="{98C66B79-4BAC-41A6-B9EB-E6DF62F5B2ED}"/>
                                            </p:graphicEl>
                                          </p:spTgt>
                                        </p:tgtEl>
                                        <p:attrNameLst>
                                          <p:attrName>style.visibility</p:attrName>
                                        </p:attrNameLst>
                                      </p:cBhvr>
                                      <p:to>
                                        <p:strVal val="visible"/>
                                      </p:to>
                                    </p:set>
                                    <p:anim calcmode="lin" valueType="num">
                                      <p:cBhvr additive="base">
                                        <p:cTn id="37" dur="500" fill="hold"/>
                                        <p:tgtEl>
                                          <p:spTgt spid="5">
                                            <p:graphicEl>
                                              <a:dgm id="{98C66B79-4BAC-41A6-B9EB-E6DF62F5B2ED}"/>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5">
                                            <p:graphicEl>
                                              <a:dgm id="{98C66B79-4BAC-41A6-B9EB-E6DF62F5B2ED}"/>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err="1" smtClean="0"/>
              <a:t>Unit</a:t>
            </a:r>
            <a:r>
              <a:rPr lang="es-ES" dirty="0" smtClean="0"/>
              <a:t> </a:t>
            </a:r>
            <a:r>
              <a:rPr lang="es-ES" dirty="0" err="1" smtClean="0"/>
              <a:t>Testing</a:t>
            </a:r>
            <a:r>
              <a:rPr lang="es-ES" dirty="0" smtClean="0"/>
              <a:t> - ¿Cómo?</a:t>
            </a:r>
            <a:endParaRPr lang="es-ES" dirty="0"/>
          </a:p>
        </p:txBody>
      </p:sp>
      <p:sp>
        <p:nvSpPr>
          <p:cNvPr id="3" name="Marcador de número de diapositiva 2"/>
          <p:cNvSpPr>
            <a:spLocks noGrp="1"/>
          </p:cNvSpPr>
          <p:nvPr>
            <p:ph type="sldNum" sz="quarter" idx="11"/>
          </p:nvPr>
        </p:nvSpPr>
        <p:spPr/>
        <p:txBody>
          <a:bodyPr/>
          <a:lstStyle/>
          <a:p>
            <a:pPr defTabSz="932563"/>
            <a:fld id="{27258FFF-F925-446B-8502-81C933981705}" type="slidenum">
              <a:rPr lang="en-US" smtClean="0">
                <a:solidFill>
                  <a:srgbClr val="505050"/>
                </a:solidFill>
              </a:rPr>
              <a:pPr defTabSz="932563"/>
              <a:t>5</a:t>
            </a:fld>
            <a:endParaRPr lang="en-US" dirty="0">
              <a:solidFill>
                <a:srgbClr val="505050"/>
              </a:solidFill>
            </a:endParaRPr>
          </a:p>
        </p:txBody>
      </p:sp>
      <p:graphicFrame>
        <p:nvGraphicFramePr>
          <p:cNvPr id="6" name="Diagrama 5"/>
          <p:cNvGraphicFramePr/>
          <p:nvPr>
            <p:extLst>
              <p:ext uri="{D42A27DB-BD31-4B8C-83A1-F6EECF244321}">
                <p14:modId xmlns:p14="http://schemas.microsoft.com/office/powerpoint/2010/main" val="911898274"/>
              </p:ext>
            </p:extLst>
          </p:nvPr>
        </p:nvGraphicFramePr>
        <p:xfrm>
          <a:off x="585215" y="800008"/>
          <a:ext cx="11226196" cy="39152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a 6"/>
          <p:cNvGraphicFramePr/>
          <p:nvPr>
            <p:extLst>
              <p:ext uri="{D42A27DB-BD31-4B8C-83A1-F6EECF244321}">
                <p14:modId xmlns:p14="http://schemas.microsoft.com/office/powerpoint/2010/main" val="1079543491"/>
              </p:ext>
            </p:extLst>
          </p:nvPr>
        </p:nvGraphicFramePr>
        <p:xfrm>
          <a:off x="809019" y="4070018"/>
          <a:ext cx="10778587" cy="21022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59053843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graphicEl>
                                              <a:dgm id="{CC9925DD-5A59-4F7F-BA2E-3C7C6381A4A5}"/>
                                            </p:graphicEl>
                                          </p:spTgt>
                                        </p:tgtEl>
                                        <p:attrNameLst>
                                          <p:attrName>style.visibility</p:attrName>
                                        </p:attrNameLst>
                                      </p:cBhvr>
                                      <p:to>
                                        <p:strVal val="visible"/>
                                      </p:to>
                                    </p:set>
                                    <p:anim calcmode="lin" valueType="num">
                                      <p:cBhvr additive="base">
                                        <p:cTn id="7" dur="500" fill="hold"/>
                                        <p:tgtEl>
                                          <p:spTgt spid="6">
                                            <p:graphicEl>
                                              <a:dgm id="{CC9925DD-5A59-4F7F-BA2E-3C7C6381A4A5}"/>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graphicEl>
                                              <a:dgm id="{CC9925DD-5A59-4F7F-BA2E-3C7C6381A4A5}"/>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graphicEl>
                                              <a:dgm id="{5C9D83C3-411D-4F07-A4F0-2D48C1CE58F9}"/>
                                            </p:graphicEl>
                                          </p:spTgt>
                                        </p:tgtEl>
                                        <p:attrNameLst>
                                          <p:attrName>style.visibility</p:attrName>
                                        </p:attrNameLst>
                                      </p:cBhvr>
                                      <p:to>
                                        <p:strVal val="visible"/>
                                      </p:to>
                                    </p:set>
                                    <p:anim calcmode="lin" valueType="num">
                                      <p:cBhvr additive="base">
                                        <p:cTn id="13" dur="500" fill="hold"/>
                                        <p:tgtEl>
                                          <p:spTgt spid="6">
                                            <p:graphicEl>
                                              <a:dgm id="{5C9D83C3-411D-4F07-A4F0-2D48C1CE58F9}"/>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graphicEl>
                                              <a:dgm id="{5C9D83C3-411D-4F07-A4F0-2D48C1CE58F9}"/>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7">
                                            <p:graphicEl>
                                              <a:dgm id="{086971BA-D121-4114-B19C-136EE4AF956C}"/>
                                            </p:graphicEl>
                                          </p:spTgt>
                                        </p:tgtEl>
                                        <p:attrNameLst>
                                          <p:attrName>style.visibility</p:attrName>
                                        </p:attrNameLst>
                                      </p:cBhvr>
                                      <p:to>
                                        <p:strVal val="visible"/>
                                      </p:to>
                                    </p:set>
                                    <p:anim calcmode="lin" valueType="num">
                                      <p:cBhvr>
                                        <p:cTn id="19" dur="500" fill="hold"/>
                                        <p:tgtEl>
                                          <p:spTgt spid="7">
                                            <p:graphicEl>
                                              <a:dgm id="{086971BA-D121-4114-B19C-136EE4AF956C}"/>
                                            </p:graphicEl>
                                          </p:spTgt>
                                        </p:tgtEl>
                                        <p:attrNameLst>
                                          <p:attrName>ppt_w</p:attrName>
                                        </p:attrNameLst>
                                      </p:cBhvr>
                                      <p:tavLst>
                                        <p:tav tm="0">
                                          <p:val>
                                            <p:fltVal val="0"/>
                                          </p:val>
                                        </p:tav>
                                        <p:tav tm="100000">
                                          <p:val>
                                            <p:strVal val="#ppt_w"/>
                                          </p:val>
                                        </p:tav>
                                      </p:tavLst>
                                    </p:anim>
                                    <p:anim calcmode="lin" valueType="num">
                                      <p:cBhvr>
                                        <p:cTn id="20" dur="500" fill="hold"/>
                                        <p:tgtEl>
                                          <p:spTgt spid="7">
                                            <p:graphicEl>
                                              <a:dgm id="{086971BA-D121-4114-B19C-136EE4AF956C}"/>
                                            </p:graphicEl>
                                          </p:spTgt>
                                        </p:tgtEl>
                                        <p:attrNameLst>
                                          <p:attrName>ppt_h</p:attrName>
                                        </p:attrNameLst>
                                      </p:cBhvr>
                                      <p:tavLst>
                                        <p:tav tm="0">
                                          <p:val>
                                            <p:fltVal val="0"/>
                                          </p:val>
                                        </p:tav>
                                        <p:tav tm="100000">
                                          <p:val>
                                            <p:strVal val="#ppt_h"/>
                                          </p:val>
                                        </p:tav>
                                      </p:tavLst>
                                    </p:anim>
                                    <p:animEffect transition="in" filter="fade">
                                      <p:cBhvr>
                                        <p:cTn id="21" dur="500"/>
                                        <p:tgtEl>
                                          <p:spTgt spid="7">
                                            <p:graphicEl>
                                              <a:dgm id="{086971BA-D121-4114-B19C-136EE4AF956C}"/>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7">
                                            <p:graphicEl>
                                              <a:dgm id="{994FF828-7A58-469E-98A1-5B2C6FE753C5}"/>
                                            </p:graphicEl>
                                          </p:spTgt>
                                        </p:tgtEl>
                                        <p:attrNameLst>
                                          <p:attrName>style.visibility</p:attrName>
                                        </p:attrNameLst>
                                      </p:cBhvr>
                                      <p:to>
                                        <p:strVal val="visible"/>
                                      </p:to>
                                    </p:set>
                                    <p:anim calcmode="lin" valueType="num">
                                      <p:cBhvr>
                                        <p:cTn id="26" dur="500" fill="hold"/>
                                        <p:tgtEl>
                                          <p:spTgt spid="7">
                                            <p:graphicEl>
                                              <a:dgm id="{994FF828-7A58-469E-98A1-5B2C6FE753C5}"/>
                                            </p:graphicEl>
                                          </p:spTgt>
                                        </p:tgtEl>
                                        <p:attrNameLst>
                                          <p:attrName>ppt_w</p:attrName>
                                        </p:attrNameLst>
                                      </p:cBhvr>
                                      <p:tavLst>
                                        <p:tav tm="0">
                                          <p:val>
                                            <p:fltVal val="0"/>
                                          </p:val>
                                        </p:tav>
                                        <p:tav tm="100000">
                                          <p:val>
                                            <p:strVal val="#ppt_w"/>
                                          </p:val>
                                        </p:tav>
                                      </p:tavLst>
                                    </p:anim>
                                    <p:anim calcmode="lin" valueType="num">
                                      <p:cBhvr>
                                        <p:cTn id="27" dur="500" fill="hold"/>
                                        <p:tgtEl>
                                          <p:spTgt spid="7">
                                            <p:graphicEl>
                                              <a:dgm id="{994FF828-7A58-469E-98A1-5B2C6FE753C5}"/>
                                            </p:graphicEl>
                                          </p:spTgt>
                                        </p:tgtEl>
                                        <p:attrNameLst>
                                          <p:attrName>ppt_h</p:attrName>
                                        </p:attrNameLst>
                                      </p:cBhvr>
                                      <p:tavLst>
                                        <p:tav tm="0">
                                          <p:val>
                                            <p:fltVal val="0"/>
                                          </p:val>
                                        </p:tav>
                                        <p:tav tm="100000">
                                          <p:val>
                                            <p:strVal val="#ppt_h"/>
                                          </p:val>
                                        </p:tav>
                                      </p:tavLst>
                                    </p:anim>
                                    <p:animEffect transition="in" filter="fade">
                                      <p:cBhvr>
                                        <p:cTn id="28" dur="500"/>
                                        <p:tgtEl>
                                          <p:spTgt spid="7">
                                            <p:graphicEl>
                                              <a:dgm id="{994FF828-7A58-469E-98A1-5B2C6FE753C5}"/>
                                            </p:graphicEl>
                                          </p:spTgt>
                                        </p:tgtEl>
                                      </p:cBhvr>
                                    </p:animEffec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grpId="0" nodeType="clickEffect">
                                  <p:stCondLst>
                                    <p:cond delay="0"/>
                                  </p:stCondLst>
                                  <p:childTnLst>
                                    <p:set>
                                      <p:cBhvr>
                                        <p:cTn id="32" dur="1" fill="hold">
                                          <p:stCondLst>
                                            <p:cond delay="0"/>
                                          </p:stCondLst>
                                        </p:cTn>
                                        <p:tgtEl>
                                          <p:spTgt spid="7">
                                            <p:graphicEl>
                                              <a:dgm id="{768B5EA6-EE7B-4FAF-81C3-3168BC6F9D54}"/>
                                            </p:graphicEl>
                                          </p:spTgt>
                                        </p:tgtEl>
                                        <p:attrNameLst>
                                          <p:attrName>style.visibility</p:attrName>
                                        </p:attrNameLst>
                                      </p:cBhvr>
                                      <p:to>
                                        <p:strVal val="visible"/>
                                      </p:to>
                                    </p:set>
                                    <p:anim calcmode="lin" valueType="num">
                                      <p:cBhvr>
                                        <p:cTn id="33" dur="500" fill="hold"/>
                                        <p:tgtEl>
                                          <p:spTgt spid="7">
                                            <p:graphicEl>
                                              <a:dgm id="{768B5EA6-EE7B-4FAF-81C3-3168BC6F9D54}"/>
                                            </p:graphicEl>
                                          </p:spTgt>
                                        </p:tgtEl>
                                        <p:attrNameLst>
                                          <p:attrName>ppt_w</p:attrName>
                                        </p:attrNameLst>
                                      </p:cBhvr>
                                      <p:tavLst>
                                        <p:tav tm="0">
                                          <p:val>
                                            <p:fltVal val="0"/>
                                          </p:val>
                                        </p:tav>
                                        <p:tav tm="100000">
                                          <p:val>
                                            <p:strVal val="#ppt_w"/>
                                          </p:val>
                                        </p:tav>
                                      </p:tavLst>
                                    </p:anim>
                                    <p:anim calcmode="lin" valueType="num">
                                      <p:cBhvr>
                                        <p:cTn id="34" dur="500" fill="hold"/>
                                        <p:tgtEl>
                                          <p:spTgt spid="7">
                                            <p:graphicEl>
                                              <a:dgm id="{768B5EA6-EE7B-4FAF-81C3-3168BC6F9D54}"/>
                                            </p:graphicEl>
                                          </p:spTgt>
                                        </p:tgtEl>
                                        <p:attrNameLst>
                                          <p:attrName>ppt_h</p:attrName>
                                        </p:attrNameLst>
                                      </p:cBhvr>
                                      <p:tavLst>
                                        <p:tav tm="0">
                                          <p:val>
                                            <p:fltVal val="0"/>
                                          </p:val>
                                        </p:tav>
                                        <p:tav tm="100000">
                                          <p:val>
                                            <p:strVal val="#ppt_h"/>
                                          </p:val>
                                        </p:tav>
                                      </p:tavLst>
                                    </p:anim>
                                    <p:animEffect transition="in" filter="fade">
                                      <p:cBhvr>
                                        <p:cTn id="35" dur="500"/>
                                        <p:tgtEl>
                                          <p:spTgt spid="7">
                                            <p:graphicEl>
                                              <a:dgm id="{768B5EA6-EE7B-4FAF-81C3-3168BC6F9D5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lvlOne"/>
        </p:bldSub>
      </p:bldGraphic>
      <p:bldGraphic spid="7"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Unit Testing - Productividad</a:t>
            </a:r>
            <a:endParaRPr lang="es-ES" dirty="0"/>
          </a:p>
        </p:txBody>
      </p:sp>
      <p:graphicFrame>
        <p:nvGraphicFramePr>
          <p:cNvPr id="5" name="Diagrama 4"/>
          <p:cNvGraphicFramePr/>
          <p:nvPr>
            <p:extLst>
              <p:ext uri="{D42A27DB-BD31-4B8C-83A1-F6EECF244321}">
                <p14:modId xmlns:p14="http://schemas.microsoft.com/office/powerpoint/2010/main" val="474821103"/>
              </p:ext>
            </p:extLst>
          </p:nvPr>
        </p:nvGraphicFramePr>
        <p:xfrm>
          <a:off x="603504" y="1889185"/>
          <a:ext cx="11226196" cy="43193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Imagen 3"/>
          <p:cNvPicPr>
            <a:picLocks noChangeAspect="1"/>
          </p:cNvPicPr>
          <p:nvPr/>
        </p:nvPicPr>
        <p:blipFill>
          <a:blip r:embed="rId7"/>
          <a:stretch>
            <a:fillRect/>
          </a:stretch>
        </p:blipFill>
        <p:spPr>
          <a:xfrm>
            <a:off x="1921588" y="1874658"/>
            <a:ext cx="8553450" cy="4333875"/>
          </a:xfrm>
          <a:prstGeom prst="rect">
            <a:avLst/>
          </a:prstGeom>
        </p:spPr>
      </p:pic>
      <p:sp>
        <p:nvSpPr>
          <p:cNvPr id="6" name="CuadroTexto 5"/>
          <p:cNvSpPr txBox="1"/>
          <p:nvPr/>
        </p:nvSpPr>
        <p:spPr>
          <a:xfrm>
            <a:off x="603504" y="1158400"/>
            <a:ext cx="11226195" cy="627864"/>
          </a:xfrm>
          <a:prstGeom prst="rect">
            <a:avLst/>
          </a:prstGeom>
          <a:noFill/>
        </p:spPr>
        <p:txBody>
          <a:bodyPr wrap="square" lIns="182880" tIns="146304" rIns="182880" bIns="146304" rtlCol="0">
            <a:spAutoFit/>
          </a:bodyPr>
          <a:lstStyle/>
          <a:p>
            <a:pPr>
              <a:lnSpc>
                <a:spcPct val="90000"/>
              </a:lnSpc>
              <a:spcAft>
                <a:spcPts val="600"/>
              </a:spcAft>
            </a:pPr>
            <a:r>
              <a:rPr lang="es-ES" sz="2400" dirty="0" smtClean="0">
                <a:gradFill>
                  <a:gsLst>
                    <a:gs pos="2917">
                      <a:schemeClr val="tx1"/>
                    </a:gs>
                    <a:gs pos="30000">
                      <a:schemeClr val="tx1"/>
                    </a:gs>
                  </a:gsLst>
                  <a:lin ang="5400000" scaled="0"/>
                </a:gradFill>
              </a:rPr>
              <a:t>Y esto, ¿afecta a la productividad?</a:t>
            </a:r>
          </a:p>
        </p:txBody>
      </p:sp>
    </p:spTree>
    <p:extLst>
      <p:ext uri="{BB962C8B-B14F-4D97-AF65-F5344CB8AC3E}">
        <p14:creationId xmlns:p14="http://schemas.microsoft.com/office/powerpoint/2010/main" val="47515746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graphicEl>
                                              <a:dgm id="{723CC8AA-A470-418D-B700-246553441128}"/>
                                            </p:graphicEl>
                                          </p:spTgt>
                                        </p:tgtEl>
                                        <p:attrNameLst>
                                          <p:attrName>style.visibility</p:attrName>
                                        </p:attrNameLst>
                                      </p:cBhvr>
                                      <p:to>
                                        <p:strVal val="visible"/>
                                      </p:to>
                                    </p:set>
                                    <p:anim calcmode="lin" valueType="num">
                                      <p:cBhvr additive="base">
                                        <p:cTn id="7" dur="500" fill="hold"/>
                                        <p:tgtEl>
                                          <p:spTgt spid="5">
                                            <p:graphicEl>
                                              <a:dgm id="{723CC8AA-A470-418D-B700-246553441128}"/>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graphicEl>
                                              <a:dgm id="{723CC8AA-A470-418D-B700-246553441128}"/>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graphicEl>
                                              <a:dgm id="{16265125-ED33-453A-82BD-3AA1C8D593F3}"/>
                                            </p:graphicEl>
                                          </p:spTgt>
                                        </p:tgtEl>
                                        <p:attrNameLst>
                                          <p:attrName>style.visibility</p:attrName>
                                        </p:attrNameLst>
                                      </p:cBhvr>
                                      <p:to>
                                        <p:strVal val="visible"/>
                                      </p:to>
                                    </p:set>
                                    <p:anim calcmode="lin" valueType="num">
                                      <p:cBhvr additive="base">
                                        <p:cTn id="13" dur="500" fill="hold"/>
                                        <p:tgtEl>
                                          <p:spTgt spid="5">
                                            <p:graphicEl>
                                              <a:dgm id="{16265125-ED33-453A-82BD-3AA1C8D593F3}"/>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graphicEl>
                                              <a:dgm id="{16265125-ED33-453A-82BD-3AA1C8D593F3}"/>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xit" presetSubtype="0" fill="hold" grpId="2" nodeType="clickEffect">
                                  <p:stCondLst>
                                    <p:cond delay="0"/>
                                  </p:stCondLst>
                                  <p:childTnLst>
                                    <p:anim calcmode="lin" valueType="num">
                                      <p:cBhvr>
                                        <p:cTn id="18" dur="1000"/>
                                        <p:tgtEl>
                                          <p:spTgt spid="5">
                                            <p:graphicEl>
                                              <a:dgm id="{723CC8AA-A470-418D-B700-246553441128}"/>
                                            </p:graphicEl>
                                          </p:spTgt>
                                        </p:tgtEl>
                                        <p:attrNameLst>
                                          <p:attrName>ppt_w</p:attrName>
                                        </p:attrNameLst>
                                      </p:cBhvr>
                                      <p:tavLst>
                                        <p:tav tm="0">
                                          <p:val>
                                            <p:strVal val="ppt_w"/>
                                          </p:val>
                                        </p:tav>
                                        <p:tav tm="100000">
                                          <p:val>
                                            <p:fltVal val="0"/>
                                          </p:val>
                                        </p:tav>
                                      </p:tavLst>
                                    </p:anim>
                                    <p:anim calcmode="lin" valueType="num">
                                      <p:cBhvr>
                                        <p:cTn id="19" dur="1000"/>
                                        <p:tgtEl>
                                          <p:spTgt spid="5">
                                            <p:graphicEl>
                                              <a:dgm id="{723CC8AA-A470-418D-B700-246553441128}"/>
                                            </p:graphicEl>
                                          </p:spTgt>
                                        </p:tgtEl>
                                        <p:attrNameLst>
                                          <p:attrName>ppt_h</p:attrName>
                                        </p:attrNameLst>
                                      </p:cBhvr>
                                      <p:tavLst>
                                        <p:tav tm="0">
                                          <p:val>
                                            <p:strVal val="ppt_h"/>
                                          </p:val>
                                        </p:tav>
                                        <p:tav tm="100000">
                                          <p:val>
                                            <p:fltVal val="0"/>
                                          </p:val>
                                        </p:tav>
                                      </p:tavLst>
                                    </p:anim>
                                    <p:anim calcmode="lin" valueType="num">
                                      <p:cBhvr>
                                        <p:cTn id="20" dur="1000"/>
                                        <p:tgtEl>
                                          <p:spTgt spid="5">
                                            <p:graphicEl>
                                              <a:dgm id="{723CC8AA-A470-418D-B700-246553441128}"/>
                                            </p:graphicEl>
                                          </p:spTgt>
                                        </p:tgtEl>
                                        <p:attrNameLst>
                                          <p:attrName>style.rotation</p:attrName>
                                        </p:attrNameLst>
                                      </p:cBhvr>
                                      <p:tavLst>
                                        <p:tav tm="0">
                                          <p:val>
                                            <p:fltVal val="0"/>
                                          </p:val>
                                        </p:tav>
                                        <p:tav tm="100000">
                                          <p:val>
                                            <p:fltVal val="90"/>
                                          </p:val>
                                        </p:tav>
                                      </p:tavLst>
                                    </p:anim>
                                    <p:animEffect transition="out" filter="fade">
                                      <p:cBhvr>
                                        <p:cTn id="21" dur="1000"/>
                                        <p:tgtEl>
                                          <p:spTgt spid="5">
                                            <p:graphicEl>
                                              <a:dgm id="{723CC8AA-A470-418D-B700-246553441128}"/>
                                            </p:graphicEl>
                                          </p:spTgt>
                                        </p:tgtEl>
                                      </p:cBhvr>
                                    </p:animEffect>
                                    <p:set>
                                      <p:cBhvr>
                                        <p:cTn id="22" dur="1" fill="hold">
                                          <p:stCondLst>
                                            <p:cond delay="999"/>
                                          </p:stCondLst>
                                        </p:cTn>
                                        <p:tgtEl>
                                          <p:spTgt spid="5">
                                            <p:graphicEl>
                                              <a:dgm id="{723CC8AA-A470-418D-B700-246553441128}"/>
                                            </p:graphicEl>
                                          </p:spTgt>
                                        </p:tgtEl>
                                        <p:attrNameLst>
                                          <p:attrName>style.visibility</p:attrName>
                                        </p:attrNameLst>
                                      </p:cBhvr>
                                      <p:to>
                                        <p:strVal val="hidden"/>
                                      </p:to>
                                    </p:set>
                                  </p:childTnLst>
                                </p:cTn>
                              </p:par>
                              <p:par>
                                <p:cTn id="23" presetID="31" presetClass="exit" presetSubtype="0" fill="hold" grpId="2" nodeType="withEffect">
                                  <p:stCondLst>
                                    <p:cond delay="0"/>
                                  </p:stCondLst>
                                  <p:childTnLst>
                                    <p:anim calcmode="lin" valueType="num">
                                      <p:cBhvr>
                                        <p:cTn id="24" dur="1000"/>
                                        <p:tgtEl>
                                          <p:spTgt spid="5">
                                            <p:graphicEl>
                                              <a:dgm id="{16265125-ED33-453A-82BD-3AA1C8D593F3}"/>
                                            </p:graphicEl>
                                          </p:spTgt>
                                        </p:tgtEl>
                                        <p:attrNameLst>
                                          <p:attrName>ppt_w</p:attrName>
                                        </p:attrNameLst>
                                      </p:cBhvr>
                                      <p:tavLst>
                                        <p:tav tm="0">
                                          <p:val>
                                            <p:strVal val="ppt_w"/>
                                          </p:val>
                                        </p:tav>
                                        <p:tav tm="100000">
                                          <p:val>
                                            <p:fltVal val="0"/>
                                          </p:val>
                                        </p:tav>
                                      </p:tavLst>
                                    </p:anim>
                                    <p:anim calcmode="lin" valueType="num">
                                      <p:cBhvr>
                                        <p:cTn id="25" dur="1000"/>
                                        <p:tgtEl>
                                          <p:spTgt spid="5">
                                            <p:graphicEl>
                                              <a:dgm id="{16265125-ED33-453A-82BD-3AA1C8D593F3}"/>
                                            </p:graphicEl>
                                          </p:spTgt>
                                        </p:tgtEl>
                                        <p:attrNameLst>
                                          <p:attrName>ppt_h</p:attrName>
                                        </p:attrNameLst>
                                      </p:cBhvr>
                                      <p:tavLst>
                                        <p:tav tm="0">
                                          <p:val>
                                            <p:strVal val="ppt_h"/>
                                          </p:val>
                                        </p:tav>
                                        <p:tav tm="100000">
                                          <p:val>
                                            <p:fltVal val="0"/>
                                          </p:val>
                                        </p:tav>
                                      </p:tavLst>
                                    </p:anim>
                                    <p:anim calcmode="lin" valueType="num">
                                      <p:cBhvr>
                                        <p:cTn id="26" dur="1000"/>
                                        <p:tgtEl>
                                          <p:spTgt spid="5">
                                            <p:graphicEl>
                                              <a:dgm id="{16265125-ED33-453A-82BD-3AA1C8D593F3}"/>
                                            </p:graphicEl>
                                          </p:spTgt>
                                        </p:tgtEl>
                                        <p:attrNameLst>
                                          <p:attrName>style.rotation</p:attrName>
                                        </p:attrNameLst>
                                      </p:cBhvr>
                                      <p:tavLst>
                                        <p:tav tm="0">
                                          <p:val>
                                            <p:fltVal val="0"/>
                                          </p:val>
                                        </p:tav>
                                        <p:tav tm="100000">
                                          <p:val>
                                            <p:fltVal val="90"/>
                                          </p:val>
                                        </p:tav>
                                      </p:tavLst>
                                    </p:anim>
                                    <p:animEffect transition="out" filter="fade">
                                      <p:cBhvr>
                                        <p:cTn id="27" dur="1000"/>
                                        <p:tgtEl>
                                          <p:spTgt spid="5">
                                            <p:graphicEl>
                                              <a:dgm id="{16265125-ED33-453A-82BD-3AA1C8D593F3}"/>
                                            </p:graphicEl>
                                          </p:spTgt>
                                        </p:tgtEl>
                                      </p:cBhvr>
                                    </p:animEffect>
                                    <p:set>
                                      <p:cBhvr>
                                        <p:cTn id="28" dur="1" fill="hold">
                                          <p:stCondLst>
                                            <p:cond delay="999"/>
                                          </p:stCondLst>
                                        </p:cTn>
                                        <p:tgtEl>
                                          <p:spTgt spid="5">
                                            <p:graphicEl>
                                              <a:dgm id="{16265125-ED33-453A-82BD-3AA1C8D593F3}"/>
                                            </p:graphicEl>
                                          </p:spTgt>
                                        </p:tgtEl>
                                        <p:attrNameLst>
                                          <p:attrName>style.visibility</p:attrName>
                                        </p:attrNameLst>
                                      </p:cBhvr>
                                      <p:to>
                                        <p:strVal val="hidden"/>
                                      </p:to>
                                    </p:set>
                                  </p:childTnLst>
                                </p:cTn>
                              </p:par>
                              <p:par>
                                <p:cTn id="29" presetID="31" presetClass="entr" presetSubtype="0" fill="hold" nodeType="withEffect">
                                  <p:stCondLst>
                                    <p:cond delay="0"/>
                                  </p:stCondLst>
                                  <p:childTnLst>
                                    <p:set>
                                      <p:cBhvr>
                                        <p:cTn id="30" dur="1" fill="hold">
                                          <p:stCondLst>
                                            <p:cond delay="0"/>
                                          </p:stCondLst>
                                        </p:cTn>
                                        <p:tgtEl>
                                          <p:spTgt spid="4"/>
                                        </p:tgtEl>
                                        <p:attrNameLst>
                                          <p:attrName>style.visibility</p:attrName>
                                        </p:attrNameLst>
                                      </p:cBhvr>
                                      <p:to>
                                        <p:strVal val="visible"/>
                                      </p:to>
                                    </p:set>
                                    <p:anim calcmode="lin" valueType="num">
                                      <p:cBhvr>
                                        <p:cTn id="31" dur="1000" fill="hold"/>
                                        <p:tgtEl>
                                          <p:spTgt spid="4"/>
                                        </p:tgtEl>
                                        <p:attrNameLst>
                                          <p:attrName>ppt_w</p:attrName>
                                        </p:attrNameLst>
                                      </p:cBhvr>
                                      <p:tavLst>
                                        <p:tav tm="0">
                                          <p:val>
                                            <p:fltVal val="0"/>
                                          </p:val>
                                        </p:tav>
                                        <p:tav tm="100000">
                                          <p:val>
                                            <p:strVal val="#ppt_w"/>
                                          </p:val>
                                        </p:tav>
                                      </p:tavLst>
                                    </p:anim>
                                    <p:anim calcmode="lin" valueType="num">
                                      <p:cBhvr>
                                        <p:cTn id="32" dur="1000" fill="hold"/>
                                        <p:tgtEl>
                                          <p:spTgt spid="4"/>
                                        </p:tgtEl>
                                        <p:attrNameLst>
                                          <p:attrName>ppt_h</p:attrName>
                                        </p:attrNameLst>
                                      </p:cBhvr>
                                      <p:tavLst>
                                        <p:tav tm="0">
                                          <p:val>
                                            <p:fltVal val="0"/>
                                          </p:val>
                                        </p:tav>
                                        <p:tav tm="100000">
                                          <p:val>
                                            <p:strVal val="#ppt_h"/>
                                          </p:val>
                                        </p:tav>
                                      </p:tavLst>
                                    </p:anim>
                                    <p:anim calcmode="lin" valueType="num">
                                      <p:cBhvr>
                                        <p:cTn id="33" dur="1000" fill="hold"/>
                                        <p:tgtEl>
                                          <p:spTgt spid="4"/>
                                        </p:tgtEl>
                                        <p:attrNameLst>
                                          <p:attrName>style.rotation</p:attrName>
                                        </p:attrNameLst>
                                      </p:cBhvr>
                                      <p:tavLst>
                                        <p:tav tm="0">
                                          <p:val>
                                            <p:fltVal val="90"/>
                                          </p:val>
                                        </p:tav>
                                        <p:tav tm="100000">
                                          <p:val>
                                            <p:fltVal val="0"/>
                                          </p:val>
                                        </p:tav>
                                      </p:tavLst>
                                    </p:anim>
                                    <p:animEffect transition="in" filter="fade">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Graphic spid="5" grpId="2">
        <p:bldSub>
          <a:bldDgm/>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ctrTitle"/>
          </p:nvPr>
        </p:nvSpPr>
        <p:spPr/>
        <p:txBody>
          <a:bodyPr/>
          <a:lstStyle/>
          <a:p>
            <a:r>
              <a:rPr lang="es-ES" u="sng" dirty="0" smtClean="0"/>
              <a:t>Demo</a:t>
            </a:r>
            <a:endParaRPr lang="es-ES" u="sng" dirty="0"/>
          </a:p>
        </p:txBody>
      </p:sp>
      <p:sp>
        <p:nvSpPr>
          <p:cNvPr id="8" name="Subtítulo 7"/>
          <p:cNvSpPr>
            <a:spLocks noGrp="1"/>
          </p:cNvSpPr>
          <p:nvPr>
            <p:ph type="subTitle" idx="1"/>
          </p:nvPr>
        </p:nvSpPr>
        <p:spPr/>
        <p:txBody>
          <a:bodyPr/>
          <a:lstStyle/>
          <a:p>
            <a:r>
              <a:rPr lang="es-ES" dirty="0" smtClean="0"/>
              <a:t>Primeros pasitos</a:t>
            </a:r>
            <a:endParaRPr lang="es-ES" dirty="0"/>
          </a:p>
        </p:txBody>
      </p:sp>
      <p:sp>
        <p:nvSpPr>
          <p:cNvPr id="3" name="Marcador de número de diapositiva 2"/>
          <p:cNvSpPr>
            <a:spLocks noGrp="1"/>
          </p:cNvSpPr>
          <p:nvPr>
            <p:ph type="sldNum" sz="quarter" idx="12"/>
          </p:nvPr>
        </p:nvSpPr>
        <p:spPr/>
        <p:txBody>
          <a:bodyPr/>
          <a:lstStyle/>
          <a:p>
            <a:pPr defTabSz="932563"/>
            <a:fld id="{27258FFF-F925-446B-8502-81C933981705}" type="slidenum">
              <a:rPr lang="en-US" smtClean="0">
                <a:solidFill>
                  <a:srgbClr val="505050"/>
                </a:solidFill>
              </a:rPr>
              <a:pPr defTabSz="932563"/>
              <a:t>7</a:t>
            </a:fld>
            <a:endParaRPr lang="en-US" dirty="0">
              <a:solidFill>
                <a:srgbClr val="505050"/>
              </a:solidFill>
            </a:endParaRPr>
          </a:p>
        </p:txBody>
      </p:sp>
    </p:spTree>
    <p:extLst>
      <p:ext uri="{BB962C8B-B14F-4D97-AF65-F5344CB8AC3E}">
        <p14:creationId xmlns:p14="http://schemas.microsoft.com/office/powerpoint/2010/main" val="13744288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p:txBody>
          <a:bodyPr/>
          <a:lstStyle/>
          <a:p>
            <a:r>
              <a:rPr lang="es-ES" dirty="0" err="1" smtClean="0"/>
              <a:t>Unit</a:t>
            </a:r>
            <a:r>
              <a:rPr lang="es-ES" dirty="0" smtClean="0"/>
              <a:t> </a:t>
            </a:r>
            <a:r>
              <a:rPr lang="es-ES" dirty="0" err="1" smtClean="0"/>
              <a:t>Testing</a:t>
            </a:r>
            <a:r>
              <a:rPr lang="es-ES" dirty="0" smtClean="0"/>
              <a:t> - ¿Cómo deben ser las pruebas?</a:t>
            </a:r>
            <a:endParaRPr lang="es-ES" dirty="0"/>
          </a:p>
        </p:txBody>
      </p:sp>
      <p:graphicFrame>
        <p:nvGraphicFramePr>
          <p:cNvPr id="7" name="Diagrama 6"/>
          <p:cNvGraphicFramePr/>
          <p:nvPr>
            <p:extLst>
              <p:ext uri="{D42A27DB-BD31-4B8C-83A1-F6EECF244321}">
                <p14:modId xmlns:p14="http://schemas.microsoft.com/office/powerpoint/2010/main" val="3741665672"/>
              </p:ext>
            </p:extLst>
          </p:nvPr>
        </p:nvGraphicFramePr>
        <p:xfrm>
          <a:off x="585216" y="1362266"/>
          <a:ext cx="11226195" cy="50808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904810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graphicEl>
                                              <a:dgm id="{BC2F1C18-FF56-4AC9-914B-CA82C07153C9}"/>
                                            </p:graphicEl>
                                          </p:spTgt>
                                        </p:tgtEl>
                                        <p:attrNameLst>
                                          <p:attrName>style.visibility</p:attrName>
                                        </p:attrNameLst>
                                      </p:cBhvr>
                                      <p:to>
                                        <p:strVal val="visible"/>
                                      </p:to>
                                    </p:set>
                                    <p:anim calcmode="lin" valueType="num">
                                      <p:cBhvr additive="base">
                                        <p:cTn id="7" dur="500" fill="hold"/>
                                        <p:tgtEl>
                                          <p:spTgt spid="7">
                                            <p:graphicEl>
                                              <a:dgm id="{BC2F1C18-FF56-4AC9-914B-CA82C07153C9}"/>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graphicEl>
                                              <a:dgm id="{BC2F1C18-FF56-4AC9-914B-CA82C07153C9}"/>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graphicEl>
                                              <a:dgm id="{14513C6C-FE06-4A95-8072-833FCBDD6238}"/>
                                            </p:graphicEl>
                                          </p:spTgt>
                                        </p:tgtEl>
                                        <p:attrNameLst>
                                          <p:attrName>style.visibility</p:attrName>
                                        </p:attrNameLst>
                                      </p:cBhvr>
                                      <p:to>
                                        <p:strVal val="visible"/>
                                      </p:to>
                                    </p:set>
                                    <p:anim calcmode="lin" valueType="num">
                                      <p:cBhvr additive="base">
                                        <p:cTn id="13" dur="500" fill="hold"/>
                                        <p:tgtEl>
                                          <p:spTgt spid="7">
                                            <p:graphicEl>
                                              <a:dgm id="{14513C6C-FE06-4A95-8072-833FCBDD6238}"/>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graphicEl>
                                              <a:dgm id="{14513C6C-FE06-4A95-8072-833FCBDD6238}"/>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graphicEl>
                                              <a:dgm id="{3F3988A7-1983-4255-A81D-F4A82E1861C2}"/>
                                            </p:graphicEl>
                                          </p:spTgt>
                                        </p:tgtEl>
                                        <p:attrNameLst>
                                          <p:attrName>style.visibility</p:attrName>
                                        </p:attrNameLst>
                                      </p:cBhvr>
                                      <p:to>
                                        <p:strVal val="visible"/>
                                      </p:to>
                                    </p:set>
                                    <p:anim calcmode="lin" valueType="num">
                                      <p:cBhvr additive="base">
                                        <p:cTn id="19" dur="500" fill="hold"/>
                                        <p:tgtEl>
                                          <p:spTgt spid="7">
                                            <p:graphicEl>
                                              <a:dgm id="{3F3988A7-1983-4255-A81D-F4A82E1861C2}"/>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graphicEl>
                                              <a:dgm id="{3F3988A7-1983-4255-A81D-F4A82E1861C2}"/>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7">
                                            <p:graphicEl>
                                              <a:dgm id="{79DCB119-047E-4946-B910-D8F928A7BA6E}"/>
                                            </p:graphicEl>
                                          </p:spTgt>
                                        </p:tgtEl>
                                        <p:attrNameLst>
                                          <p:attrName>style.visibility</p:attrName>
                                        </p:attrNameLst>
                                      </p:cBhvr>
                                      <p:to>
                                        <p:strVal val="visible"/>
                                      </p:to>
                                    </p:set>
                                    <p:anim calcmode="lin" valueType="num">
                                      <p:cBhvr additive="base">
                                        <p:cTn id="25" dur="500" fill="hold"/>
                                        <p:tgtEl>
                                          <p:spTgt spid="7">
                                            <p:graphicEl>
                                              <a:dgm id="{79DCB119-047E-4946-B910-D8F928A7BA6E}"/>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7">
                                            <p:graphicEl>
                                              <a:dgm id="{79DCB119-047E-4946-B910-D8F928A7BA6E}"/>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7">
                                            <p:graphicEl>
                                              <a:dgm id="{960FB0C9-5137-49A9-8A43-F9AFABC31E79}"/>
                                            </p:graphicEl>
                                          </p:spTgt>
                                        </p:tgtEl>
                                        <p:attrNameLst>
                                          <p:attrName>style.visibility</p:attrName>
                                        </p:attrNameLst>
                                      </p:cBhvr>
                                      <p:to>
                                        <p:strVal val="visible"/>
                                      </p:to>
                                    </p:set>
                                    <p:anim calcmode="lin" valueType="num">
                                      <p:cBhvr additive="base">
                                        <p:cTn id="31" dur="500" fill="hold"/>
                                        <p:tgtEl>
                                          <p:spTgt spid="7">
                                            <p:graphicEl>
                                              <a:dgm id="{960FB0C9-5137-49A9-8A43-F9AFABC31E79}"/>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7">
                                            <p:graphicEl>
                                              <a:dgm id="{960FB0C9-5137-49A9-8A43-F9AFABC31E79}"/>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Unit Testing - ¿Qué hay que probar?</a:t>
            </a:r>
            <a:endParaRPr lang="es-ES" dirty="0"/>
          </a:p>
        </p:txBody>
      </p:sp>
      <p:sp>
        <p:nvSpPr>
          <p:cNvPr id="3" name="Marcador de número de diapositiva 2"/>
          <p:cNvSpPr>
            <a:spLocks noGrp="1"/>
          </p:cNvSpPr>
          <p:nvPr>
            <p:ph type="sldNum" sz="quarter" idx="11"/>
          </p:nvPr>
        </p:nvSpPr>
        <p:spPr/>
        <p:txBody>
          <a:bodyPr/>
          <a:lstStyle/>
          <a:p>
            <a:pPr defTabSz="932563"/>
            <a:fld id="{27258FFF-F925-446B-8502-81C933981705}" type="slidenum">
              <a:rPr lang="en-US" smtClean="0">
                <a:solidFill>
                  <a:srgbClr val="505050"/>
                </a:solidFill>
              </a:rPr>
              <a:pPr defTabSz="932563"/>
              <a:t>9</a:t>
            </a:fld>
            <a:endParaRPr lang="en-US" dirty="0">
              <a:solidFill>
                <a:srgbClr val="505050"/>
              </a:solidFill>
            </a:endParaRPr>
          </a:p>
        </p:txBody>
      </p:sp>
      <p:sp>
        <p:nvSpPr>
          <p:cNvPr id="43" name="Forma libre 42"/>
          <p:cNvSpPr/>
          <p:nvPr/>
        </p:nvSpPr>
        <p:spPr>
          <a:xfrm>
            <a:off x="603504" y="1216047"/>
            <a:ext cx="11334496" cy="505750"/>
          </a:xfrm>
          <a:custGeom>
            <a:avLst/>
            <a:gdLst>
              <a:gd name="connsiteX0" fmla="*/ 0 w 11334496"/>
              <a:gd name="connsiteY0" fmla="*/ 84293 h 505750"/>
              <a:gd name="connsiteX1" fmla="*/ 84293 w 11334496"/>
              <a:gd name="connsiteY1" fmla="*/ 0 h 505750"/>
              <a:gd name="connsiteX2" fmla="*/ 11250203 w 11334496"/>
              <a:gd name="connsiteY2" fmla="*/ 0 h 505750"/>
              <a:gd name="connsiteX3" fmla="*/ 11334496 w 11334496"/>
              <a:gd name="connsiteY3" fmla="*/ 84293 h 505750"/>
              <a:gd name="connsiteX4" fmla="*/ 11334496 w 11334496"/>
              <a:gd name="connsiteY4" fmla="*/ 421457 h 505750"/>
              <a:gd name="connsiteX5" fmla="*/ 11250203 w 11334496"/>
              <a:gd name="connsiteY5" fmla="*/ 505750 h 505750"/>
              <a:gd name="connsiteX6" fmla="*/ 84293 w 11334496"/>
              <a:gd name="connsiteY6" fmla="*/ 505750 h 505750"/>
              <a:gd name="connsiteX7" fmla="*/ 0 w 11334496"/>
              <a:gd name="connsiteY7" fmla="*/ 421457 h 505750"/>
              <a:gd name="connsiteX8" fmla="*/ 0 w 11334496"/>
              <a:gd name="connsiteY8" fmla="*/ 84293 h 5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4496" h="505750">
                <a:moveTo>
                  <a:pt x="0" y="84293"/>
                </a:moveTo>
                <a:cubicBezTo>
                  <a:pt x="0" y="37739"/>
                  <a:pt x="37739" y="0"/>
                  <a:pt x="84293" y="0"/>
                </a:cubicBezTo>
                <a:lnTo>
                  <a:pt x="11250203" y="0"/>
                </a:lnTo>
                <a:cubicBezTo>
                  <a:pt x="11296757" y="0"/>
                  <a:pt x="11334496" y="37739"/>
                  <a:pt x="11334496" y="84293"/>
                </a:cubicBezTo>
                <a:lnTo>
                  <a:pt x="11334496" y="421457"/>
                </a:lnTo>
                <a:cubicBezTo>
                  <a:pt x="11334496" y="468011"/>
                  <a:pt x="11296757" y="505750"/>
                  <a:pt x="11250203" y="505750"/>
                </a:cubicBezTo>
                <a:lnTo>
                  <a:pt x="84293" y="505750"/>
                </a:lnTo>
                <a:cubicBezTo>
                  <a:pt x="37739" y="505750"/>
                  <a:pt x="0" y="468011"/>
                  <a:pt x="0" y="421457"/>
                </a:cubicBezTo>
                <a:lnTo>
                  <a:pt x="0" y="84293"/>
                </a:lnTo>
                <a:close/>
              </a:path>
            </a:pathLst>
          </a:custGeom>
        </p:spPr>
        <p:style>
          <a:lnRef idx="1">
            <a:schemeClr val="dk1"/>
          </a:lnRef>
          <a:fillRef idx="3">
            <a:schemeClr val="dk1"/>
          </a:fillRef>
          <a:effectRef idx="2">
            <a:schemeClr val="dk1"/>
          </a:effectRef>
          <a:fontRef idx="minor">
            <a:schemeClr val="lt1"/>
          </a:fontRef>
        </p:style>
        <p:txBody>
          <a:bodyPr spcFirstLastPara="0" vert="horz" wrap="square" lIns="146609" tIns="146609" rIns="146609" bIns="146609" numCol="1" spcCol="1270" anchor="ctr" anchorCtr="0">
            <a:noAutofit/>
          </a:bodyPr>
          <a:lstStyle/>
          <a:p>
            <a:pPr lvl="0" algn="ctr" defTabSz="1422400" rtl="0">
              <a:lnSpc>
                <a:spcPct val="90000"/>
              </a:lnSpc>
              <a:spcBef>
                <a:spcPct val="0"/>
              </a:spcBef>
              <a:spcAft>
                <a:spcPct val="35000"/>
              </a:spcAft>
            </a:pPr>
            <a:r>
              <a:rPr lang="es-ES" sz="3200" b="1" kern="1200" baseline="0" dirty="0" smtClean="0"/>
              <a:t>RIGHT - BICEP</a:t>
            </a:r>
            <a:endParaRPr lang="es-ES" sz="3200" kern="1200" dirty="0"/>
          </a:p>
        </p:txBody>
      </p:sp>
      <p:sp>
        <p:nvSpPr>
          <p:cNvPr id="36" name="Forma libre 35"/>
          <p:cNvSpPr/>
          <p:nvPr/>
        </p:nvSpPr>
        <p:spPr>
          <a:xfrm>
            <a:off x="603505" y="1852295"/>
            <a:ext cx="5643184" cy="742456"/>
          </a:xfrm>
          <a:custGeom>
            <a:avLst/>
            <a:gdLst>
              <a:gd name="connsiteX0" fmla="*/ 0 w 5643184"/>
              <a:gd name="connsiteY0" fmla="*/ 118610 h 711645"/>
              <a:gd name="connsiteX1" fmla="*/ 118610 w 5643184"/>
              <a:gd name="connsiteY1" fmla="*/ 0 h 711645"/>
              <a:gd name="connsiteX2" fmla="*/ 5524574 w 5643184"/>
              <a:gd name="connsiteY2" fmla="*/ 0 h 711645"/>
              <a:gd name="connsiteX3" fmla="*/ 5643184 w 5643184"/>
              <a:gd name="connsiteY3" fmla="*/ 118610 h 711645"/>
              <a:gd name="connsiteX4" fmla="*/ 5643184 w 5643184"/>
              <a:gd name="connsiteY4" fmla="*/ 593035 h 711645"/>
              <a:gd name="connsiteX5" fmla="*/ 5524574 w 5643184"/>
              <a:gd name="connsiteY5" fmla="*/ 711645 h 711645"/>
              <a:gd name="connsiteX6" fmla="*/ 118610 w 5643184"/>
              <a:gd name="connsiteY6" fmla="*/ 711645 h 711645"/>
              <a:gd name="connsiteX7" fmla="*/ 0 w 5643184"/>
              <a:gd name="connsiteY7" fmla="*/ 593035 h 711645"/>
              <a:gd name="connsiteX8" fmla="*/ 0 w 5643184"/>
              <a:gd name="connsiteY8" fmla="*/ 118610 h 71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711645">
                <a:moveTo>
                  <a:pt x="0" y="118610"/>
                </a:moveTo>
                <a:cubicBezTo>
                  <a:pt x="0" y="53104"/>
                  <a:pt x="53104" y="0"/>
                  <a:pt x="118610" y="0"/>
                </a:cubicBezTo>
                <a:lnTo>
                  <a:pt x="5524574" y="0"/>
                </a:lnTo>
                <a:cubicBezTo>
                  <a:pt x="5590080" y="0"/>
                  <a:pt x="5643184" y="53104"/>
                  <a:pt x="5643184" y="118610"/>
                </a:cubicBezTo>
                <a:lnTo>
                  <a:pt x="5643184" y="593035"/>
                </a:lnTo>
                <a:cubicBezTo>
                  <a:pt x="5643184" y="658541"/>
                  <a:pt x="5590080" y="711645"/>
                  <a:pt x="5524574" y="711645"/>
                </a:cubicBezTo>
                <a:lnTo>
                  <a:pt x="118610" y="711645"/>
                </a:lnTo>
                <a:cubicBezTo>
                  <a:pt x="53104" y="711645"/>
                  <a:pt x="0" y="658541"/>
                  <a:pt x="0" y="593035"/>
                </a:cubicBezTo>
                <a:lnTo>
                  <a:pt x="0" y="11861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107130" tIns="107130" rIns="107130" bIns="107130" numCol="1" spcCol="1270" anchor="ctr" anchorCtr="0">
            <a:noAutofit/>
          </a:bodyPr>
          <a:lstStyle/>
          <a:p>
            <a:pPr lvl="0" algn="l" defTabSz="844550" rtl="0">
              <a:lnSpc>
                <a:spcPct val="90000"/>
              </a:lnSpc>
              <a:spcBef>
                <a:spcPct val="0"/>
              </a:spcBef>
              <a:spcAft>
                <a:spcPct val="35000"/>
              </a:spcAft>
            </a:pPr>
            <a:r>
              <a:rPr lang="en-US" sz="1900" kern="1200" baseline="0" smtClean="0"/>
              <a:t>Are </a:t>
            </a:r>
            <a:r>
              <a:rPr lang="en-US" sz="1900" kern="1200" baseline="0" dirty="0" smtClean="0"/>
              <a:t>the results </a:t>
            </a:r>
            <a:r>
              <a:rPr lang="en-US" sz="1900" b="1" kern="1200" baseline="0" dirty="0" smtClean="0"/>
              <a:t>RIGHT</a:t>
            </a:r>
            <a:r>
              <a:rPr lang="en-US" sz="1900" kern="1200" baseline="0" dirty="0" smtClean="0"/>
              <a:t>?</a:t>
            </a:r>
            <a:endParaRPr lang="es-ES" sz="1900" kern="1200" dirty="0"/>
          </a:p>
        </p:txBody>
      </p:sp>
      <p:sp>
        <p:nvSpPr>
          <p:cNvPr id="37" name="Forma libre 36"/>
          <p:cNvSpPr/>
          <p:nvPr/>
        </p:nvSpPr>
        <p:spPr>
          <a:xfrm>
            <a:off x="603505" y="2651841"/>
            <a:ext cx="5643184" cy="742456"/>
          </a:xfrm>
          <a:custGeom>
            <a:avLst/>
            <a:gdLst>
              <a:gd name="connsiteX0" fmla="*/ 0 w 5643184"/>
              <a:gd name="connsiteY0" fmla="*/ 118610 h 711645"/>
              <a:gd name="connsiteX1" fmla="*/ 118610 w 5643184"/>
              <a:gd name="connsiteY1" fmla="*/ 0 h 711645"/>
              <a:gd name="connsiteX2" fmla="*/ 5524574 w 5643184"/>
              <a:gd name="connsiteY2" fmla="*/ 0 h 711645"/>
              <a:gd name="connsiteX3" fmla="*/ 5643184 w 5643184"/>
              <a:gd name="connsiteY3" fmla="*/ 118610 h 711645"/>
              <a:gd name="connsiteX4" fmla="*/ 5643184 w 5643184"/>
              <a:gd name="connsiteY4" fmla="*/ 593035 h 711645"/>
              <a:gd name="connsiteX5" fmla="*/ 5524574 w 5643184"/>
              <a:gd name="connsiteY5" fmla="*/ 711645 h 711645"/>
              <a:gd name="connsiteX6" fmla="*/ 118610 w 5643184"/>
              <a:gd name="connsiteY6" fmla="*/ 711645 h 711645"/>
              <a:gd name="connsiteX7" fmla="*/ 0 w 5643184"/>
              <a:gd name="connsiteY7" fmla="*/ 593035 h 711645"/>
              <a:gd name="connsiteX8" fmla="*/ 0 w 5643184"/>
              <a:gd name="connsiteY8" fmla="*/ 118610 h 71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711645">
                <a:moveTo>
                  <a:pt x="0" y="118610"/>
                </a:moveTo>
                <a:cubicBezTo>
                  <a:pt x="0" y="53104"/>
                  <a:pt x="53104" y="0"/>
                  <a:pt x="118610" y="0"/>
                </a:cubicBezTo>
                <a:lnTo>
                  <a:pt x="5524574" y="0"/>
                </a:lnTo>
                <a:cubicBezTo>
                  <a:pt x="5590080" y="0"/>
                  <a:pt x="5643184" y="53104"/>
                  <a:pt x="5643184" y="118610"/>
                </a:cubicBezTo>
                <a:lnTo>
                  <a:pt x="5643184" y="593035"/>
                </a:lnTo>
                <a:cubicBezTo>
                  <a:pt x="5643184" y="658541"/>
                  <a:pt x="5590080" y="711645"/>
                  <a:pt x="5524574" y="711645"/>
                </a:cubicBezTo>
                <a:lnTo>
                  <a:pt x="118610" y="711645"/>
                </a:lnTo>
                <a:cubicBezTo>
                  <a:pt x="53104" y="711645"/>
                  <a:pt x="0" y="658541"/>
                  <a:pt x="0" y="593035"/>
                </a:cubicBezTo>
                <a:lnTo>
                  <a:pt x="0" y="11861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107130" tIns="107130" rIns="107130" bIns="107130" numCol="1" spcCol="1270" anchor="ctr" anchorCtr="0">
            <a:noAutofit/>
          </a:bodyPr>
          <a:lstStyle/>
          <a:p>
            <a:pPr lvl="0" algn="l" defTabSz="844550" rtl="0">
              <a:lnSpc>
                <a:spcPct val="90000"/>
              </a:lnSpc>
              <a:spcBef>
                <a:spcPct val="0"/>
              </a:spcBef>
              <a:spcAft>
                <a:spcPct val="35000"/>
              </a:spcAft>
            </a:pPr>
            <a:r>
              <a:rPr lang="en-US" sz="1900" kern="1200" baseline="0" dirty="0" smtClean="0"/>
              <a:t>Are all </a:t>
            </a:r>
            <a:r>
              <a:rPr lang="en-US" sz="1900" b="1" kern="1200" baseline="0" dirty="0" smtClean="0"/>
              <a:t>B</a:t>
            </a:r>
            <a:r>
              <a:rPr lang="en-US" sz="1900" kern="1200" baseline="0" dirty="0" smtClean="0"/>
              <a:t>OUNDARY conditions correct?</a:t>
            </a:r>
            <a:endParaRPr lang="es-ES" sz="1900" kern="1200" dirty="0"/>
          </a:p>
        </p:txBody>
      </p:sp>
      <p:sp>
        <p:nvSpPr>
          <p:cNvPr id="38" name="Forma libre 37"/>
          <p:cNvSpPr/>
          <p:nvPr/>
        </p:nvSpPr>
        <p:spPr>
          <a:xfrm>
            <a:off x="603505" y="3451388"/>
            <a:ext cx="5643184" cy="742456"/>
          </a:xfrm>
          <a:custGeom>
            <a:avLst/>
            <a:gdLst>
              <a:gd name="connsiteX0" fmla="*/ 0 w 5643184"/>
              <a:gd name="connsiteY0" fmla="*/ 118610 h 711645"/>
              <a:gd name="connsiteX1" fmla="*/ 118610 w 5643184"/>
              <a:gd name="connsiteY1" fmla="*/ 0 h 711645"/>
              <a:gd name="connsiteX2" fmla="*/ 5524574 w 5643184"/>
              <a:gd name="connsiteY2" fmla="*/ 0 h 711645"/>
              <a:gd name="connsiteX3" fmla="*/ 5643184 w 5643184"/>
              <a:gd name="connsiteY3" fmla="*/ 118610 h 711645"/>
              <a:gd name="connsiteX4" fmla="*/ 5643184 w 5643184"/>
              <a:gd name="connsiteY4" fmla="*/ 593035 h 711645"/>
              <a:gd name="connsiteX5" fmla="*/ 5524574 w 5643184"/>
              <a:gd name="connsiteY5" fmla="*/ 711645 h 711645"/>
              <a:gd name="connsiteX6" fmla="*/ 118610 w 5643184"/>
              <a:gd name="connsiteY6" fmla="*/ 711645 h 711645"/>
              <a:gd name="connsiteX7" fmla="*/ 0 w 5643184"/>
              <a:gd name="connsiteY7" fmla="*/ 593035 h 711645"/>
              <a:gd name="connsiteX8" fmla="*/ 0 w 5643184"/>
              <a:gd name="connsiteY8" fmla="*/ 118610 h 71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711645">
                <a:moveTo>
                  <a:pt x="0" y="118610"/>
                </a:moveTo>
                <a:cubicBezTo>
                  <a:pt x="0" y="53104"/>
                  <a:pt x="53104" y="0"/>
                  <a:pt x="118610" y="0"/>
                </a:cubicBezTo>
                <a:lnTo>
                  <a:pt x="5524574" y="0"/>
                </a:lnTo>
                <a:cubicBezTo>
                  <a:pt x="5590080" y="0"/>
                  <a:pt x="5643184" y="53104"/>
                  <a:pt x="5643184" y="118610"/>
                </a:cubicBezTo>
                <a:lnTo>
                  <a:pt x="5643184" y="593035"/>
                </a:lnTo>
                <a:cubicBezTo>
                  <a:pt x="5643184" y="658541"/>
                  <a:pt x="5590080" y="711645"/>
                  <a:pt x="5524574" y="711645"/>
                </a:cubicBezTo>
                <a:lnTo>
                  <a:pt x="118610" y="711645"/>
                </a:lnTo>
                <a:cubicBezTo>
                  <a:pt x="53104" y="711645"/>
                  <a:pt x="0" y="658541"/>
                  <a:pt x="0" y="593035"/>
                </a:cubicBezTo>
                <a:lnTo>
                  <a:pt x="0" y="11861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107130" tIns="107130" rIns="107130" bIns="107130" numCol="1" spcCol="1270" anchor="ctr" anchorCtr="0">
            <a:noAutofit/>
          </a:bodyPr>
          <a:lstStyle/>
          <a:p>
            <a:pPr lvl="0" algn="l" defTabSz="844550" rtl="0">
              <a:lnSpc>
                <a:spcPct val="90000"/>
              </a:lnSpc>
              <a:spcBef>
                <a:spcPct val="0"/>
              </a:spcBef>
              <a:spcAft>
                <a:spcPct val="35000"/>
              </a:spcAft>
            </a:pPr>
            <a:r>
              <a:rPr lang="en-US" sz="1900" kern="1200" baseline="0" dirty="0" smtClean="0"/>
              <a:t>Can you check </a:t>
            </a:r>
            <a:r>
              <a:rPr lang="en-US" sz="1900" b="1" kern="1200" baseline="0" dirty="0" smtClean="0"/>
              <a:t>I</a:t>
            </a:r>
            <a:r>
              <a:rPr lang="en-US" sz="1900" kern="1200" baseline="0" dirty="0" smtClean="0"/>
              <a:t>NVERSE relationships? </a:t>
            </a:r>
            <a:endParaRPr lang="es-ES" sz="1900" kern="1200" dirty="0"/>
          </a:p>
        </p:txBody>
      </p:sp>
      <p:sp>
        <p:nvSpPr>
          <p:cNvPr id="39" name="Forma libre 38"/>
          <p:cNvSpPr/>
          <p:nvPr/>
        </p:nvSpPr>
        <p:spPr>
          <a:xfrm>
            <a:off x="603505" y="4250934"/>
            <a:ext cx="5643184" cy="742456"/>
          </a:xfrm>
          <a:custGeom>
            <a:avLst/>
            <a:gdLst>
              <a:gd name="connsiteX0" fmla="*/ 0 w 5643184"/>
              <a:gd name="connsiteY0" fmla="*/ 118610 h 711645"/>
              <a:gd name="connsiteX1" fmla="*/ 118610 w 5643184"/>
              <a:gd name="connsiteY1" fmla="*/ 0 h 711645"/>
              <a:gd name="connsiteX2" fmla="*/ 5524574 w 5643184"/>
              <a:gd name="connsiteY2" fmla="*/ 0 h 711645"/>
              <a:gd name="connsiteX3" fmla="*/ 5643184 w 5643184"/>
              <a:gd name="connsiteY3" fmla="*/ 118610 h 711645"/>
              <a:gd name="connsiteX4" fmla="*/ 5643184 w 5643184"/>
              <a:gd name="connsiteY4" fmla="*/ 593035 h 711645"/>
              <a:gd name="connsiteX5" fmla="*/ 5524574 w 5643184"/>
              <a:gd name="connsiteY5" fmla="*/ 711645 h 711645"/>
              <a:gd name="connsiteX6" fmla="*/ 118610 w 5643184"/>
              <a:gd name="connsiteY6" fmla="*/ 711645 h 711645"/>
              <a:gd name="connsiteX7" fmla="*/ 0 w 5643184"/>
              <a:gd name="connsiteY7" fmla="*/ 593035 h 711645"/>
              <a:gd name="connsiteX8" fmla="*/ 0 w 5643184"/>
              <a:gd name="connsiteY8" fmla="*/ 118610 h 71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711645">
                <a:moveTo>
                  <a:pt x="0" y="118610"/>
                </a:moveTo>
                <a:cubicBezTo>
                  <a:pt x="0" y="53104"/>
                  <a:pt x="53104" y="0"/>
                  <a:pt x="118610" y="0"/>
                </a:cubicBezTo>
                <a:lnTo>
                  <a:pt x="5524574" y="0"/>
                </a:lnTo>
                <a:cubicBezTo>
                  <a:pt x="5590080" y="0"/>
                  <a:pt x="5643184" y="53104"/>
                  <a:pt x="5643184" y="118610"/>
                </a:cubicBezTo>
                <a:lnTo>
                  <a:pt x="5643184" y="593035"/>
                </a:lnTo>
                <a:cubicBezTo>
                  <a:pt x="5643184" y="658541"/>
                  <a:pt x="5590080" y="711645"/>
                  <a:pt x="5524574" y="711645"/>
                </a:cubicBezTo>
                <a:lnTo>
                  <a:pt x="118610" y="711645"/>
                </a:lnTo>
                <a:cubicBezTo>
                  <a:pt x="53104" y="711645"/>
                  <a:pt x="0" y="658541"/>
                  <a:pt x="0" y="593035"/>
                </a:cubicBezTo>
                <a:lnTo>
                  <a:pt x="0" y="11861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107130" tIns="107130" rIns="107130" bIns="107130" numCol="1" spcCol="1270" anchor="ctr" anchorCtr="0">
            <a:noAutofit/>
          </a:bodyPr>
          <a:lstStyle/>
          <a:p>
            <a:pPr lvl="0" algn="l" defTabSz="844550" rtl="0">
              <a:lnSpc>
                <a:spcPct val="90000"/>
              </a:lnSpc>
              <a:spcBef>
                <a:spcPct val="0"/>
              </a:spcBef>
              <a:spcAft>
                <a:spcPct val="35000"/>
              </a:spcAft>
            </a:pPr>
            <a:r>
              <a:rPr lang="en-US" sz="1900" kern="1200" baseline="0" dirty="0" smtClean="0"/>
              <a:t>Can you </a:t>
            </a:r>
            <a:r>
              <a:rPr lang="en-US" sz="1900" b="1" kern="1200" baseline="0" dirty="0" smtClean="0"/>
              <a:t>C</a:t>
            </a:r>
            <a:r>
              <a:rPr lang="en-US" sz="1900" kern="1200" baseline="0" dirty="0" smtClean="0"/>
              <a:t>ROSS-CHECK results using other means?</a:t>
            </a:r>
            <a:endParaRPr lang="es-ES" sz="1900" kern="1200" dirty="0"/>
          </a:p>
        </p:txBody>
      </p:sp>
      <p:sp>
        <p:nvSpPr>
          <p:cNvPr id="40" name="Forma libre 39"/>
          <p:cNvSpPr/>
          <p:nvPr/>
        </p:nvSpPr>
        <p:spPr>
          <a:xfrm>
            <a:off x="603505" y="5050479"/>
            <a:ext cx="5643184" cy="742456"/>
          </a:xfrm>
          <a:custGeom>
            <a:avLst/>
            <a:gdLst>
              <a:gd name="connsiteX0" fmla="*/ 0 w 5643184"/>
              <a:gd name="connsiteY0" fmla="*/ 118610 h 711645"/>
              <a:gd name="connsiteX1" fmla="*/ 118610 w 5643184"/>
              <a:gd name="connsiteY1" fmla="*/ 0 h 711645"/>
              <a:gd name="connsiteX2" fmla="*/ 5524574 w 5643184"/>
              <a:gd name="connsiteY2" fmla="*/ 0 h 711645"/>
              <a:gd name="connsiteX3" fmla="*/ 5643184 w 5643184"/>
              <a:gd name="connsiteY3" fmla="*/ 118610 h 711645"/>
              <a:gd name="connsiteX4" fmla="*/ 5643184 w 5643184"/>
              <a:gd name="connsiteY4" fmla="*/ 593035 h 711645"/>
              <a:gd name="connsiteX5" fmla="*/ 5524574 w 5643184"/>
              <a:gd name="connsiteY5" fmla="*/ 711645 h 711645"/>
              <a:gd name="connsiteX6" fmla="*/ 118610 w 5643184"/>
              <a:gd name="connsiteY6" fmla="*/ 711645 h 711645"/>
              <a:gd name="connsiteX7" fmla="*/ 0 w 5643184"/>
              <a:gd name="connsiteY7" fmla="*/ 593035 h 711645"/>
              <a:gd name="connsiteX8" fmla="*/ 0 w 5643184"/>
              <a:gd name="connsiteY8" fmla="*/ 118610 h 71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711645">
                <a:moveTo>
                  <a:pt x="0" y="118610"/>
                </a:moveTo>
                <a:cubicBezTo>
                  <a:pt x="0" y="53104"/>
                  <a:pt x="53104" y="0"/>
                  <a:pt x="118610" y="0"/>
                </a:cubicBezTo>
                <a:lnTo>
                  <a:pt x="5524574" y="0"/>
                </a:lnTo>
                <a:cubicBezTo>
                  <a:pt x="5590080" y="0"/>
                  <a:pt x="5643184" y="53104"/>
                  <a:pt x="5643184" y="118610"/>
                </a:cubicBezTo>
                <a:lnTo>
                  <a:pt x="5643184" y="593035"/>
                </a:lnTo>
                <a:cubicBezTo>
                  <a:pt x="5643184" y="658541"/>
                  <a:pt x="5590080" y="711645"/>
                  <a:pt x="5524574" y="711645"/>
                </a:cubicBezTo>
                <a:lnTo>
                  <a:pt x="118610" y="711645"/>
                </a:lnTo>
                <a:cubicBezTo>
                  <a:pt x="53104" y="711645"/>
                  <a:pt x="0" y="658541"/>
                  <a:pt x="0" y="593035"/>
                </a:cubicBezTo>
                <a:lnTo>
                  <a:pt x="0" y="11861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107130" tIns="107130" rIns="107130" bIns="107130" numCol="1" spcCol="1270" anchor="ctr" anchorCtr="0">
            <a:noAutofit/>
          </a:bodyPr>
          <a:lstStyle/>
          <a:p>
            <a:pPr lvl="0" algn="l" defTabSz="844550" rtl="0">
              <a:lnSpc>
                <a:spcPct val="90000"/>
              </a:lnSpc>
              <a:spcBef>
                <a:spcPct val="0"/>
              </a:spcBef>
              <a:spcAft>
                <a:spcPct val="35000"/>
              </a:spcAft>
            </a:pPr>
            <a:r>
              <a:rPr lang="en-US" sz="1900" kern="1200" baseline="0" dirty="0" smtClean="0"/>
              <a:t>Can you force </a:t>
            </a:r>
            <a:r>
              <a:rPr lang="en-US" sz="1900" b="1" kern="1200" baseline="0" dirty="0" smtClean="0"/>
              <a:t>E</a:t>
            </a:r>
            <a:r>
              <a:rPr lang="en-US" sz="1900" kern="1200" baseline="0" dirty="0" smtClean="0"/>
              <a:t>RROR CONDITIONS to happen?</a:t>
            </a:r>
            <a:endParaRPr lang="es-ES" sz="1900" kern="1200" dirty="0"/>
          </a:p>
        </p:txBody>
      </p:sp>
      <p:sp>
        <p:nvSpPr>
          <p:cNvPr id="41" name="Forma libre 40"/>
          <p:cNvSpPr/>
          <p:nvPr/>
        </p:nvSpPr>
        <p:spPr>
          <a:xfrm>
            <a:off x="603505" y="5850026"/>
            <a:ext cx="5643184" cy="742456"/>
          </a:xfrm>
          <a:custGeom>
            <a:avLst/>
            <a:gdLst>
              <a:gd name="connsiteX0" fmla="*/ 0 w 5643184"/>
              <a:gd name="connsiteY0" fmla="*/ 118610 h 711645"/>
              <a:gd name="connsiteX1" fmla="*/ 118610 w 5643184"/>
              <a:gd name="connsiteY1" fmla="*/ 0 h 711645"/>
              <a:gd name="connsiteX2" fmla="*/ 5524574 w 5643184"/>
              <a:gd name="connsiteY2" fmla="*/ 0 h 711645"/>
              <a:gd name="connsiteX3" fmla="*/ 5643184 w 5643184"/>
              <a:gd name="connsiteY3" fmla="*/ 118610 h 711645"/>
              <a:gd name="connsiteX4" fmla="*/ 5643184 w 5643184"/>
              <a:gd name="connsiteY4" fmla="*/ 593035 h 711645"/>
              <a:gd name="connsiteX5" fmla="*/ 5524574 w 5643184"/>
              <a:gd name="connsiteY5" fmla="*/ 711645 h 711645"/>
              <a:gd name="connsiteX6" fmla="*/ 118610 w 5643184"/>
              <a:gd name="connsiteY6" fmla="*/ 711645 h 711645"/>
              <a:gd name="connsiteX7" fmla="*/ 0 w 5643184"/>
              <a:gd name="connsiteY7" fmla="*/ 593035 h 711645"/>
              <a:gd name="connsiteX8" fmla="*/ 0 w 5643184"/>
              <a:gd name="connsiteY8" fmla="*/ 118610 h 71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711645">
                <a:moveTo>
                  <a:pt x="0" y="118610"/>
                </a:moveTo>
                <a:cubicBezTo>
                  <a:pt x="0" y="53104"/>
                  <a:pt x="53104" y="0"/>
                  <a:pt x="118610" y="0"/>
                </a:cubicBezTo>
                <a:lnTo>
                  <a:pt x="5524574" y="0"/>
                </a:lnTo>
                <a:cubicBezTo>
                  <a:pt x="5590080" y="0"/>
                  <a:pt x="5643184" y="53104"/>
                  <a:pt x="5643184" y="118610"/>
                </a:cubicBezTo>
                <a:lnTo>
                  <a:pt x="5643184" y="593035"/>
                </a:lnTo>
                <a:cubicBezTo>
                  <a:pt x="5643184" y="658541"/>
                  <a:pt x="5590080" y="711645"/>
                  <a:pt x="5524574" y="711645"/>
                </a:cubicBezTo>
                <a:lnTo>
                  <a:pt x="118610" y="711645"/>
                </a:lnTo>
                <a:cubicBezTo>
                  <a:pt x="53104" y="711645"/>
                  <a:pt x="0" y="658541"/>
                  <a:pt x="0" y="593035"/>
                </a:cubicBezTo>
                <a:lnTo>
                  <a:pt x="0" y="118610"/>
                </a:lnTo>
                <a:close/>
              </a:path>
            </a:pathLst>
          </a:custGeom>
        </p:spPr>
        <p:style>
          <a:lnRef idx="2">
            <a:schemeClr val="accent3">
              <a:shade val="50000"/>
            </a:schemeClr>
          </a:lnRef>
          <a:fillRef idx="1">
            <a:schemeClr val="accent3"/>
          </a:fillRef>
          <a:effectRef idx="0">
            <a:schemeClr val="accent3"/>
          </a:effectRef>
          <a:fontRef idx="minor">
            <a:schemeClr val="lt1"/>
          </a:fontRef>
        </p:style>
        <p:txBody>
          <a:bodyPr spcFirstLastPara="0" vert="horz" wrap="square" lIns="107130" tIns="107130" rIns="107130" bIns="107130" numCol="1" spcCol="1270" anchor="ctr" anchorCtr="0">
            <a:noAutofit/>
          </a:bodyPr>
          <a:lstStyle/>
          <a:p>
            <a:pPr lvl="0" algn="l" defTabSz="844550" rtl="0">
              <a:lnSpc>
                <a:spcPct val="90000"/>
              </a:lnSpc>
              <a:spcBef>
                <a:spcPct val="0"/>
              </a:spcBef>
              <a:spcAft>
                <a:spcPct val="35000"/>
              </a:spcAft>
            </a:pPr>
            <a:r>
              <a:rPr lang="en-US" sz="1900" kern="1200" baseline="0" dirty="0" smtClean="0"/>
              <a:t>Are </a:t>
            </a:r>
            <a:r>
              <a:rPr lang="en-US" sz="1900" b="1" kern="1200" baseline="0" dirty="0" smtClean="0"/>
              <a:t>P</a:t>
            </a:r>
            <a:r>
              <a:rPr lang="en-US" sz="1900" kern="1200" baseline="0" dirty="0" smtClean="0"/>
              <a:t>ERFORMANCE characteristics within bounds?</a:t>
            </a:r>
            <a:endParaRPr lang="es-ES" sz="1900" kern="1200" dirty="0"/>
          </a:p>
        </p:txBody>
      </p:sp>
      <p:sp>
        <p:nvSpPr>
          <p:cNvPr id="29" name="Forma libre 28"/>
          <p:cNvSpPr/>
          <p:nvPr/>
        </p:nvSpPr>
        <p:spPr>
          <a:xfrm>
            <a:off x="6294816" y="1852295"/>
            <a:ext cx="5643184" cy="742456"/>
          </a:xfrm>
          <a:custGeom>
            <a:avLst/>
            <a:gdLst>
              <a:gd name="connsiteX0" fmla="*/ 0 w 5643184"/>
              <a:gd name="connsiteY0" fmla="*/ 112367 h 674190"/>
              <a:gd name="connsiteX1" fmla="*/ 112367 w 5643184"/>
              <a:gd name="connsiteY1" fmla="*/ 0 h 674190"/>
              <a:gd name="connsiteX2" fmla="*/ 5530817 w 5643184"/>
              <a:gd name="connsiteY2" fmla="*/ 0 h 674190"/>
              <a:gd name="connsiteX3" fmla="*/ 5643184 w 5643184"/>
              <a:gd name="connsiteY3" fmla="*/ 112367 h 674190"/>
              <a:gd name="connsiteX4" fmla="*/ 5643184 w 5643184"/>
              <a:gd name="connsiteY4" fmla="*/ 561823 h 674190"/>
              <a:gd name="connsiteX5" fmla="*/ 5530817 w 5643184"/>
              <a:gd name="connsiteY5" fmla="*/ 674190 h 674190"/>
              <a:gd name="connsiteX6" fmla="*/ 112367 w 5643184"/>
              <a:gd name="connsiteY6" fmla="*/ 674190 h 674190"/>
              <a:gd name="connsiteX7" fmla="*/ 0 w 5643184"/>
              <a:gd name="connsiteY7" fmla="*/ 561823 h 674190"/>
              <a:gd name="connsiteX8" fmla="*/ 0 w 5643184"/>
              <a:gd name="connsiteY8" fmla="*/ 112367 h 674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674190">
                <a:moveTo>
                  <a:pt x="0" y="112367"/>
                </a:moveTo>
                <a:cubicBezTo>
                  <a:pt x="0" y="50308"/>
                  <a:pt x="50308" y="0"/>
                  <a:pt x="112367" y="0"/>
                </a:cubicBezTo>
                <a:lnTo>
                  <a:pt x="5530817" y="0"/>
                </a:lnTo>
                <a:cubicBezTo>
                  <a:pt x="5592876" y="0"/>
                  <a:pt x="5643184" y="50308"/>
                  <a:pt x="5643184" y="112367"/>
                </a:cubicBezTo>
                <a:lnTo>
                  <a:pt x="5643184" y="561823"/>
                </a:lnTo>
                <a:cubicBezTo>
                  <a:pt x="5643184" y="623882"/>
                  <a:pt x="5592876" y="674190"/>
                  <a:pt x="5530817" y="674190"/>
                </a:cubicBezTo>
                <a:lnTo>
                  <a:pt x="112367" y="674190"/>
                </a:lnTo>
                <a:cubicBezTo>
                  <a:pt x="50308" y="674190"/>
                  <a:pt x="0" y="623882"/>
                  <a:pt x="0" y="561823"/>
                </a:cubicBezTo>
                <a:lnTo>
                  <a:pt x="0" y="112367"/>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101491" tIns="101491" rIns="101491" bIns="101491" numCol="1" spcCol="1270" anchor="ctr" anchorCtr="0">
            <a:noAutofit/>
          </a:bodyPr>
          <a:lstStyle/>
          <a:p>
            <a:pPr lvl="0" algn="l" defTabSz="800100" rtl="0">
              <a:lnSpc>
                <a:spcPct val="90000"/>
              </a:lnSpc>
              <a:spcBef>
                <a:spcPct val="0"/>
              </a:spcBef>
              <a:spcAft>
                <a:spcPct val="35000"/>
              </a:spcAft>
            </a:pPr>
            <a:r>
              <a:rPr lang="es-ES" sz="1800" kern="1200" baseline="0" dirty="0" smtClean="0">
                <a:solidFill>
                  <a:schemeClr val="tx1"/>
                </a:solidFill>
              </a:rPr>
              <a:t>¿Los resultados son </a:t>
            </a:r>
            <a:r>
              <a:rPr lang="es-ES" sz="1800" b="1" kern="1200" baseline="0" dirty="0" smtClean="0">
                <a:solidFill>
                  <a:schemeClr val="tx1"/>
                </a:solidFill>
              </a:rPr>
              <a:t>CORRECTOS</a:t>
            </a:r>
            <a:r>
              <a:rPr lang="es-ES" sz="1800" kern="1200" baseline="0" dirty="0" smtClean="0">
                <a:solidFill>
                  <a:schemeClr val="tx1"/>
                </a:solidFill>
              </a:rPr>
              <a:t>?</a:t>
            </a:r>
            <a:endParaRPr lang="es-ES" sz="1800" kern="1200" dirty="0">
              <a:solidFill>
                <a:schemeClr val="tx1"/>
              </a:solidFill>
            </a:endParaRPr>
          </a:p>
        </p:txBody>
      </p:sp>
      <p:sp>
        <p:nvSpPr>
          <p:cNvPr id="30" name="Forma libre 29"/>
          <p:cNvSpPr/>
          <p:nvPr/>
        </p:nvSpPr>
        <p:spPr>
          <a:xfrm>
            <a:off x="6294816" y="2651841"/>
            <a:ext cx="5643184" cy="742456"/>
          </a:xfrm>
          <a:custGeom>
            <a:avLst/>
            <a:gdLst>
              <a:gd name="connsiteX0" fmla="*/ 0 w 5643184"/>
              <a:gd name="connsiteY0" fmla="*/ 77222 h 463320"/>
              <a:gd name="connsiteX1" fmla="*/ 77222 w 5643184"/>
              <a:gd name="connsiteY1" fmla="*/ 0 h 463320"/>
              <a:gd name="connsiteX2" fmla="*/ 5565962 w 5643184"/>
              <a:gd name="connsiteY2" fmla="*/ 0 h 463320"/>
              <a:gd name="connsiteX3" fmla="*/ 5643184 w 5643184"/>
              <a:gd name="connsiteY3" fmla="*/ 77222 h 463320"/>
              <a:gd name="connsiteX4" fmla="*/ 5643184 w 5643184"/>
              <a:gd name="connsiteY4" fmla="*/ 386098 h 463320"/>
              <a:gd name="connsiteX5" fmla="*/ 5565962 w 5643184"/>
              <a:gd name="connsiteY5" fmla="*/ 463320 h 463320"/>
              <a:gd name="connsiteX6" fmla="*/ 77222 w 5643184"/>
              <a:gd name="connsiteY6" fmla="*/ 463320 h 463320"/>
              <a:gd name="connsiteX7" fmla="*/ 0 w 5643184"/>
              <a:gd name="connsiteY7" fmla="*/ 386098 h 463320"/>
              <a:gd name="connsiteX8" fmla="*/ 0 w 5643184"/>
              <a:gd name="connsiteY8" fmla="*/ 77222 h 46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463320">
                <a:moveTo>
                  <a:pt x="0" y="77222"/>
                </a:moveTo>
                <a:cubicBezTo>
                  <a:pt x="0" y="34573"/>
                  <a:pt x="34573" y="0"/>
                  <a:pt x="77222" y="0"/>
                </a:cubicBezTo>
                <a:lnTo>
                  <a:pt x="5565962" y="0"/>
                </a:lnTo>
                <a:cubicBezTo>
                  <a:pt x="5608611" y="0"/>
                  <a:pt x="5643184" y="34573"/>
                  <a:pt x="5643184" y="77222"/>
                </a:cubicBezTo>
                <a:lnTo>
                  <a:pt x="5643184" y="386098"/>
                </a:lnTo>
                <a:cubicBezTo>
                  <a:pt x="5643184" y="428747"/>
                  <a:pt x="5608611" y="463320"/>
                  <a:pt x="5565962" y="463320"/>
                </a:cubicBezTo>
                <a:lnTo>
                  <a:pt x="77222" y="463320"/>
                </a:lnTo>
                <a:cubicBezTo>
                  <a:pt x="34573" y="463320"/>
                  <a:pt x="0" y="428747"/>
                  <a:pt x="0" y="386098"/>
                </a:cubicBezTo>
                <a:lnTo>
                  <a:pt x="0" y="77222"/>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91197" tIns="91197" rIns="91197" bIns="91197" numCol="1" spcCol="1270" anchor="ctr" anchorCtr="0">
            <a:noAutofit/>
          </a:bodyPr>
          <a:lstStyle/>
          <a:p>
            <a:pPr lvl="0" algn="l" defTabSz="800100" rtl="0">
              <a:lnSpc>
                <a:spcPct val="90000"/>
              </a:lnSpc>
              <a:spcBef>
                <a:spcPct val="0"/>
              </a:spcBef>
              <a:spcAft>
                <a:spcPct val="35000"/>
              </a:spcAft>
            </a:pPr>
            <a:r>
              <a:rPr lang="es-ES" sz="1800" kern="1200" baseline="0" dirty="0" smtClean="0">
                <a:solidFill>
                  <a:schemeClr val="tx1"/>
                </a:solidFill>
              </a:rPr>
              <a:t>¿Se comporta bien en CONDICIONES </a:t>
            </a:r>
            <a:r>
              <a:rPr lang="es-ES" sz="1800" b="1" kern="1200" baseline="0" dirty="0" smtClean="0">
                <a:solidFill>
                  <a:schemeClr val="tx1"/>
                </a:solidFill>
              </a:rPr>
              <a:t>L</a:t>
            </a:r>
            <a:r>
              <a:rPr lang="es-ES" sz="1800" kern="1200" baseline="0" dirty="0" smtClean="0">
                <a:solidFill>
                  <a:schemeClr val="tx1"/>
                </a:solidFill>
              </a:rPr>
              <a:t>ÍMITE?</a:t>
            </a:r>
            <a:endParaRPr lang="es-ES" sz="1800" kern="1200" dirty="0">
              <a:solidFill>
                <a:schemeClr val="tx1"/>
              </a:solidFill>
            </a:endParaRPr>
          </a:p>
        </p:txBody>
      </p:sp>
      <p:sp>
        <p:nvSpPr>
          <p:cNvPr id="31" name="Forma libre 30"/>
          <p:cNvSpPr/>
          <p:nvPr/>
        </p:nvSpPr>
        <p:spPr>
          <a:xfrm>
            <a:off x="6294816" y="3451387"/>
            <a:ext cx="5643184" cy="742457"/>
          </a:xfrm>
          <a:custGeom>
            <a:avLst/>
            <a:gdLst>
              <a:gd name="connsiteX0" fmla="*/ 0 w 5643184"/>
              <a:gd name="connsiteY0" fmla="*/ 77222 h 463320"/>
              <a:gd name="connsiteX1" fmla="*/ 77222 w 5643184"/>
              <a:gd name="connsiteY1" fmla="*/ 0 h 463320"/>
              <a:gd name="connsiteX2" fmla="*/ 5565962 w 5643184"/>
              <a:gd name="connsiteY2" fmla="*/ 0 h 463320"/>
              <a:gd name="connsiteX3" fmla="*/ 5643184 w 5643184"/>
              <a:gd name="connsiteY3" fmla="*/ 77222 h 463320"/>
              <a:gd name="connsiteX4" fmla="*/ 5643184 w 5643184"/>
              <a:gd name="connsiteY4" fmla="*/ 386098 h 463320"/>
              <a:gd name="connsiteX5" fmla="*/ 5565962 w 5643184"/>
              <a:gd name="connsiteY5" fmla="*/ 463320 h 463320"/>
              <a:gd name="connsiteX6" fmla="*/ 77222 w 5643184"/>
              <a:gd name="connsiteY6" fmla="*/ 463320 h 463320"/>
              <a:gd name="connsiteX7" fmla="*/ 0 w 5643184"/>
              <a:gd name="connsiteY7" fmla="*/ 386098 h 463320"/>
              <a:gd name="connsiteX8" fmla="*/ 0 w 5643184"/>
              <a:gd name="connsiteY8" fmla="*/ 77222 h 46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463320">
                <a:moveTo>
                  <a:pt x="0" y="77222"/>
                </a:moveTo>
                <a:cubicBezTo>
                  <a:pt x="0" y="34573"/>
                  <a:pt x="34573" y="0"/>
                  <a:pt x="77222" y="0"/>
                </a:cubicBezTo>
                <a:lnTo>
                  <a:pt x="5565962" y="0"/>
                </a:lnTo>
                <a:cubicBezTo>
                  <a:pt x="5608611" y="0"/>
                  <a:pt x="5643184" y="34573"/>
                  <a:pt x="5643184" y="77222"/>
                </a:cubicBezTo>
                <a:lnTo>
                  <a:pt x="5643184" y="386098"/>
                </a:lnTo>
                <a:cubicBezTo>
                  <a:pt x="5643184" y="428747"/>
                  <a:pt x="5608611" y="463320"/>
                  <a:pt x="5565962" y="463320"/>
                </a:cubicBezTo>
                <a:lnTo>
                  <a:pt x="77222" y="463320"/>
                </a:lnTo>
                <a:cubicBezTo>
                  <a:pt x="34573" y="463320"/>
                  <a:pt x="0" y="428747"/>
                  <a:pt x="0" y="386098"/>
                </a:cubicBezTo>
                <a:lnTo>
                  <a:pt x="0" y="77222"/>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91197" tIns="91197" rIns="91197" bIns="91197" numCol="1" spcCol="1270" anchor="ctr" anchorCtr="0">
            <a:noAutofit/>
          </a:bodyPr>
          <a:lstStyle/>
          <a:p>
            <a:pPr lvl="0" algn="l" defTabSz="800100" rtl="0">
              <a:lnSpc>
                <a:spcPct val="90000"/>
              </a:lnSpc>
              <a:spcBef>
                <a:spcPct val="0"/>
              </a:spcBef>
              <a:spcAft>
                <a:spcPct val="35000"/>
              </a:spcAft>
            </a:pPr>
            <a:r>
              <a:rPr lang="es-ES" sz="1800" kern="1200" baseline="0" dirty="0" smtClean="0">
                <a:solidFill>
                  <a:schemeClr val="tx1"/>
                </a:solidFill>
              </a:rPr>
              <a:t>Comprobación mediante LÓGICA </a:t>
            </a:r>
            <a:r>
              <a:rPr lang="es-ES" sz="1800" b="1" kern="1200" baseline="0" dirty="0" smtClean="0">
                <a:solidFill>
                  <a:schemeClr val="tx1"/>
                </a:solidFill>
              </a:rPr>
              <a:t>I</a:t>
            </a:r>
            <a:r>
              <a:rPr lang="es-ES" sz="1800" kern="1200" baseline="0" dirty="0" smtClean="0">
                <a:solidFill>
                  <a:schemeClr val="tx1"/>
                </a:solidFill>
              </a:rPr>
              <a:t>NVERSA</a:t>
            </a:r>
            <a:endParaRPr lang="es-ES" sz="1800" kern="1200" dirty="0">
              <a:solidFill>
                <a:schemeClr val="tx1"/>
              </a:solidFill>
            </a:endParaRPr>
          </a:p>
        </p:txBody>
      </p:sp>
      <p:sp>
        <p:nvSpPr>
          <p:cNvPr id="32" name="Forma libre 31"/>
          <p:cNvSpPr/>
          <p:nvPr/>
        </p:nvSpPr>
        <p:spPr>
          <a:xfrm>
            <a:off x="6294816" y="4249047"/>
            <a:ext cx="5643184" cy="744343"/>
          </a:xfrm>
          <a:custGeom>
            <a:avLst/>
            <a:gdLst>
              <a:gd name="connsiteX0" fmla="*/ 0 w 5643184"/>
              <a:gd name="connsiteY0" fmla="*/ 77222 h 463320"/>
              <a:gd name="connsiteX1" fmla="*/ 77222 w 5643184"/>
              <a:gd name="connsiteY1" fmla="*/ 0 h 463320"/>
              <a:gd name="connsiteX2" fmla="*/ 5565962 w 5643184"/>
              <a:gd name="connsiteY2" fmla="*/ 0 h 463320"/>
              <a:gd name="connsiteX3" fmla="*/ 5643184 w 5643184"/>
              <a:gd name="connsiteY3" fmla="*/ 77222 h 463320"/>
              <a:gd name="connsiteX4" fmla="*/ 5643184 w 5643184"/>
              <a:gd name="connsiteY4" fmla="*/ 386098 h 463320"/>
              <a:gd name="connsiteX5" fmla="*/ 5565962 w 5643184"/>
              <a:gd name="connsiteY5" fmla="*/ 463320 h 463320"/>
              <a:gd name="connsiteX6" fmla="*/ 77222 w 5643184"/>
              <a:gd name="connsiteY6" fmla="*/ 463320 h 463320"/>
              <a:gd name="connsiteX7" fmla="*/ 0 w 5643184"/>
              <a:gd name="connsiteY7" fmla="*/ 386098 h 463320"/>
              <a:gd name="connsiteX8" fmla="*/ 0 w 5643184"/>
              <a:gd name="connsiteY8" fmla="*/ 77222 h 46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463320">
                <a:moveTo>
                  <a:pt x="0" y="77222"/>
                </a:moveTo>
                <a:cubicBezTo>
                  <a:pt x="0" y="34573"/>
                  <a:pt x="34573" y="0"/>
                  <a:pt x="77222" y="0"/>
                </a:cubicBezTo>
                <a:lnTo>
                  <a:pt x="5565962" y="0"/>
                </a:lnTo>
                <a:cubicBezTo>
                  <a:pt x="5608611" y="0"/>
                  <a:pt x="5643184" y="34573"/>
                  <a:pt x="5643184" y="77222"/>
                </a:cubicBezTo>
                <a:lnTo>
                  <a:pt x="5643184" y="386098"/>
                </a:lnTo>
                <a:cubicBezTo>
                  <a:pt x="5643184" y="428747"/>
                  <a:pt x="5608611" y="463320"/>
                  <a:pt x="5565962" y="463320"/>
                </a:cubicBezTo>
                <a:lnTo>
                  <a:pt x="77222" y="463320"/>
                </a:lnTo>
                <a:cubicBezTo>
                  <a:pt x="34573" y="463320"/>
                  <a:pt x="0" y="428747"/>
                  <a:pt x="0" y="386098"/>
                </a:cubicBezTo>
                <a:lnTo>
                  <a:pt x="0" y="77222"/>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91197" tIns="91197" rIns="91197" bIns="91197" numCol="1" spcCol="1270" anchor="ctr" anchorCtr="0">
            <a:noAutofit/>
          </a:bodyPr>
          <a:lstStyle/>
          <a:p>
            <a:pPr lvl="0" algn="l" defTabSz="800100" rtl="0">
              <a:lnSpc>
                <a:spcPct val="90000"/>
              </a:lnSpc>
              <a:spcBef>
                <a:spcPct val="0"/>
              </a:spcBef>
              <a:spcAft>
                <a:spcPct val="35000"/>
              </a:spcAft>
            </a:pPr>
            <a:r>
              <a:rPr lang="es-ES" sz="1800" b="1" kern="1200" baseline="0" dirty="0" smtClean="0">
                <a:solidFill>
                  <a:schemeClr val="tx1"/>
                </a:solidFill>
              </a:rPr>
              <a:t>C</a:t>
            </a:r>
            <a:r>
              <a:rPr lang="es-ES" sz="1800" kern="1200" baseline="0" dirty="0" smtClean="0">
                <a:solidFill>
                  <a:schemeClr val="tx1"/>
                </a:solidFill>
              </a:rPr>
              <a:t>OMPROBACIONES CRUZADAS con otros métodos </a:t>
            </a:r>
            <a:endParaRPr lang="es-ES" sz="1800" kern="1200" dirty="0">
              <a:solidFill>
                <a:schemeClr val="tx1"/>
              </a:solidFill>
            </a:endParaRPr>
          </a:p>
        </p:txBody>
      </p:sp>
      <p:sp>
        <p:nvSpPr>
          <p:cNvPr id="33" name="Forma libre 32"/>
          <p:cNvSpPr/>
          <p:nvPr/>
        </p:nvSpPr>
        <p:spPr>
          <a:xfrm>
            <a:off x="6294816" y="5048593"/>
            <a:ext cx="5643184" cy="744342"/>
          </a:xfrm>
          <a:custGeom>
            <a:avLst/>
            <a:gdLst>
              <a:gd name="connsiteX0" fmla="*/ 0 w 5643184"/>
              <a:gd name="connsiteY0" fmla="*/ 77222 h 463320"/>
              <a:gd name="connsiteX1" fmla="*/ 77222 w 5643184"/>
              <a:gd name="connsiteY1" fmla="*/ 0 h 463320"/>
              <a:gd name="connsiteX2" fmla="*/ 5565962 w 5643184"/>
              <a:gd name="connsiteY2" fmla="*/ 0 h 463320"/>
              <a:gd name="connsiteX3" fmla="*/ 5643184 w 5643184"/>
              <a:gd name="connsiteY3" fmla="*/ 77222 h 463320"/>
              <a:gd name="connsiteX4" fmla="*/ 5643184 w 5643184"/>
              <a:gd name="connsiteY4" fmla="*/ 386098 h 463320"/>
              <a:gd name="connsiteX5" fmla="*/ 5565962 w 5643184"/>
              <a:gd name="connsiteY5" fmla="*/ 463320 h 463320"/>
              <a:gd name="connsiteX6" fmla="*/ 77222 w 5643184"/>
              <a:gd name="connsiteY6" fmla="*/ 463320 h 463320"/>
              <a:gd name="connsiteX7" fmla="*/ 0 w 5643184"/>
              <a:gd name="connsiteY7" fmla="*/ 386098 h 463320"/>
              <a:gd name="connsiteX8" fmla="*/ 0 w 5643184"/>
              <a:gd name="connsiteY8" fmla="*/ 77222 h 46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463320">
                <a:moveTo>
                  <a:pt x="0" y="77222"/>
                </a:moveTo>
                <a:cubicBezTo>
                  <a:pt x="0" y="34573"/>
                  <a:pt x="34573" y="0"/>
                  <a:pt x="77222" y="0"/>
                </a:cubicBezTo>
                <a:lnTo>
                  <a:pt x="5565962" y="0"/>
                </a:lnTo>
                <a:cubicBezTo>
                  <a:pt x="5608611" y="0"/>
                  <a:pt x="5643184" y="34573"/>
                  <a:pt x="5643184" y="77222"/>
                </a:cubicBezTo>
                <a:lnTo>
                  <a:pt x="5643184" y="386098"/>
                </a:lnTo>
                <a:cubicBezTo>
                  <a:pt x="5643184" y="428747"/>
                  <a:pt x="5608611" y="463320"/>
                  <a:pt x="5565962" y="463320"/>
                </a:cubicBezTo>
                <a:lnTo>
                  <a:pt x="77222" y="463320"/>
                </a:lnTo>
                <a:cubicBezTo>
                  <a:pt x="34573" y="463320"/>
                  <a:pt x="0" y="428747"/>
                  <a:pt x="0" y="386098"/>
                </a:cubicBezTo>
                <a:lnTo>
                  <a:pt x="0" y="77222"/>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91197" tIns="91197" rIns="91197" bIns="91197" numCol="1" spcCol="1270" anchor="ctr" anchorCtr="0">
            <a:noAutofit/>
          </a:bodyPr>
          <a:lstStyle/>
          <a:p>
            <a:pPr lvl="0" algn="l" defTabSz="800100" rtl="0">
              <a:lnSpc>
                <a:spcPct val="90000"/>
              </a:lnSpc>
              <a:spcBef>
                <a:spcPct val="0"/>
              </a:spcBef>
              <a:spcAft>
                <a:spcPct val="35000"/>
              </a:spcAft>
            </a:pPr>
            <a:r>
              <a:rPr lang="es-ES" sz="1800" kern="1200" baseline="0" dirty="0" smtClean="0">
                <a:solidFill>
                  <a:schemeClr val="tx1"/>
                </a:solidFill>
              </a:rPr>
              <a:t>Forzar CONDICIONES DE </a:t>
            </a:r>
            <a:r>
              <a:rPr lang="es-ES" sz="1800" b="1" kern="1200" baseline="0" dirty="0" smtClean="0">
                <a:solidFill>
                  <a:schemeClr val="tx1"/>
                </a:solidFill>
              </a:rPr>
              <a:t>E</a:t>
            </a:r>
            <a:r>
              <a:rPr lang="es-ES" sz="1800" kern="1200" baseline="0" dirty="0" smtClean="0">
                <a:solidFill>
                  <a:schemeClr val="tx1"/>
                </a:solidFill>
              </a:rPr>
              <a:t>RROR</a:t>
            </a:r>
            <a:endParaRPr lang="es-ES" sz="1800" kern="1200" dirty="0">
              <a:solidFill>
                <a:schemeClr val="tx1"/>
              </a:solidFill>
            </a:endParaRPr>
          </a:p>
        </p:txBody>
      </p:sp>
      <p:sp>
        <p:nvSpPr>
          <p:cNvPr id="34" name="Forma libre 33"/>
          <p:cNvSpPr/>
          <p:nvPr/>
        </p:nvSpPr>
        <p:spPr>
          <a:xfrm>
            <a:off x="6294816" y="5848138"/>
            <a:ext cx="5643184" cy="744344"/>
          </a:xfrm>
          <a:custGeom>
            <a:avLst/>
            <a:gdLst>
              <a:gd name="connsiteX0" fmla="*/ 0 w 5643184"/>
              <a:gd name="connsiteY0" fmla="*/ 77222 h 463320"/>
              <a:gd name="connsiteX1" fmla="*/ 77222 w 5643184"/>
              <a:gd name="connsiteY1" fmla="*/ 0 h 463320"/>
              <a:gd name="connsiteX2" fmla="*/ 5565962 w 5643184"/>
              <a:gd name="connsiteY2" fmla="*/ 0 h 463320"/>
              <a:gd name="connsiteX3" fmla="*/ 5643184 w 5643184"/>
              <a:gd name="connsiteY3" fmla="*/ 77222 h 463320"/>
              <a:gd name="connsiteX4" fmla="*/ 5643184 w 5643184"/>
              <a:gd name="connsiteY4" fmla="*/ 386098 h 463320"/>
              <a:gd name="connsiteX5" fmla="*/ 5565962 w 5643184"/>
              <a:gd name="connsiteY5" fmla="*/ 463320 h 463320"/>
              <a:gd name="connsiteX6" fmla="*/ 77222 w 5643184"/>
              <a:gd name="connsiteY6" fmla="*/ 463320 h 463320"/>
              <a:gd name="connsiteX7" fmla="*/ 0 w 5643184"/>
              <a:gd name="connsiteY7" fmla="*/ 386098 h 463320"/>
              <a:gd name="connsiteX8" fmla="*/ 0 w 5643184"/>
              <a:gd name="connsiteY8" fmla="*/ 77222 h 46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3184" h="463320">
                <a:moveTo>
                  <a:pt x="0" y="77222"/>
                </a:moveTo>
                <a:cubicBezTo>
                  <a:pt x="0" y="34573"/>
                  <a:pt x="34573" y="0"/>
                  <a:pt x="77222" y="0"/>
                </a:cubicBezTo>
                <a:lnTo>
                  <a:pt x="5565962" y="0"/>
                </a:lnTo>
                <a:cubicBezTo>
                  <a:pt x="5608611" y="0"/>
                  <a:pt x="5643184" y="34573"/>
                  <a:pt x="5643184" y="77222"/>
                </a:cubicBezTo>
                <a:lnTo>
                  <a:pt x="5643184" y="386098"/>
                </a:lnTo>
                <a:cubicBezTo>
                  <a:pt x="5643184" y="428747"/>
                  <a:pt x="5608611" y="463320"/>
                  <a:pt x="5565962" y="463320"/>
                </a:cubicBezTo>
                <a:lnTo>
                  <a:pt x="77222" y="463320"/>
                </a:lnTo>
                <a:cubicBezTo>
                  <a:pt x="34573" y="463320"/>
                  <a:pt x="0" y="428747"/>
                  <a:pt x="0" y="386098"/>
                </a:cubicBezTo>
                <a:lnTo>
                  <a:pt x="0" y="77222"/>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91197" tIns="91197" rIns="91197" bIns="91197" numCol="1" spcCol="1270" anchor="ctr" anchorCtr="0">
            <a:noAutofit/>
          </a:bodyPr>
          <a:lstStyle/>
          <a:p>
            <a:pPr lvl="0" algn="l" defTabSz="800100" rtl="0">
              <a:lnSpc>
                <a:spcPct val="90000"/>
              </a:lnSpc>
              <a:spcBef>
                <a:spcPct val="0"/>
              </a:spcBef>
              <a:spcAft>
                <a:spcPct val="35000"/>
              </a:spcAft>
            </a:pPr>
            <a:r>
              <a:rPr lang="es-ES" sz="1800" kern="1200" baseline="0" dirty="0" smtClean="0">
                <a:solidFill>
                  <a:schemeClr val="tx1"/>
                </a:solidFill>
              </a:rPr>
              <a:t>¿El </a:t>
            </a:r>
            <a:r>
              <a:rPr lang="es-ES" sz="1800" b="1" kern="1200" baseline="0" dirty="0" smtClean="0">
                <a:solidFill>
                  <a:schemeClr val="tx1"/>
                </a:solidFill>
              </a:rPr>
              <a:t>R</a:t>
            </a:r>
            <a:r>
              <a:rPr lang="es-ES" sz="1800" kern="1200" baseline="0" dirty="0" smtClean="0">
                <a:solidFill>
                  <a:schemeClr val="tx1"/>
                </a:solidFill>
              </a:rPr>
              <a:t>ENDIMIENTO es aceptable?</a:t>
            </a:r>
            <a:endParaRPr lang="es-ES" sz="1800" kern="1200" dirty="0">
              <a:solidFill>
                <a:schemeClr val="tx1"/>
              </a:solidFill>
            </a:endParaRPr>
          </a:p>
        </p:txBody>
      </p:sp>
    </p:spTree>
    <p:extLst>
      <p:ext uri="{BB962C8B-B14F-4D97-AF65-F5344CB8AC3E}">
        <p14:creationId xmlns:p14="http://schemas.microsoft.com/office/powerpoint/2010/main" val="321358157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500"/>
                                        <p:tgtEl>
                                          <p:spTgt spid="3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fade">
                                      <p:cBhvr>
                                        <p:cTn id="47" dur="500"/>
                                        <p:tgtEl>
                                          <p:spTgt spid="4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500"/>
                                        <p:tgtEl>
                                          <p:spTgt spid="4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39" grpId="0" animBg="1"/>
      <p:bldP spid="40" grpId="0" animBg="1"/>
      <p:bldP spid="41" grpId="0" animBg="1"/>
      <p:bldP spid="29" grpId="0" animBg="1"/>
      <p:bldP spid="30" grpId="0" animBg="1"/>
      <p:bldP spid="31" grpId="0" animBg="1"/>
      <p:bldP spid="32" grpId="0" animBg="1"/>
      <p:bldP spid="33" grpId="0" animBg="1"/>
      <p:bldP spid="3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Conversations 2013">
  <a:themeElements>
    <a:clrScheme name="Custom 1">
      <a:dk1>
        <a:srgbClr val="000000"/>
      </a:dk1>
      <a:lt1>
        <a:srgbClr val="FFFFFF"/>
      </a:lt1>
      <a:dk2>
        <a:srgbClr val="505050"/>
      </a:dk2>
      <a:lt2>
        <a:srgbClr val="D2D2D2"/>
      </a:lt2>
      <a:accent1>
        <a:srgbClr val="0078D7"/>
      </a:accent1>
      <a:accent2>
        <a:srgbClr val="00188F"/>
      </a:accent2>
      <a:accent3>
        <a:srgbClr val="002050"/>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2400"/>
          </a:spcAft>
          <a:buClr>
            <a:srgbClr val="A80000"/>
          </a:buClr>
          <a:defRPr dirty="0" smtClean="0">
            <a:solidFill>
              <a:srgbClr val="002050"/>
            </a:solidFill>
            <a:latin typeface="Segoe UI Black" panose="020B0A02040204020203" pitchFamily="34" charset="0"/>
            <a:ea typeface="Segoe UI Black" panose="020B0A02040204020203" pitchFamily="34" charset="0"/>
            <a:cs typeface="Segoe UI Black" panose="020B0A02040204020203" pitchFamily="34" charset="0"/>
          </a:defRPr>
        </a:defPPr>
      </a:lstStyle>
    </a:txDef>
  </a:objectDefaults>
  <a:extraClrSchemeLst/>
</a:theme>
</file>

<file path=ppt/theme/theme2.xml><?xml version="1.0" encoding="utf-8"?>
<a:theme xmlns:a="http://schemas.openxmlformats.org/drawingml/2006/main" name="STB Product Families 2013">
  <a:themeElements>
    <a:clrScheme name="Custom 1">
      <a:dk1>
        <a:srgbClr val="000000"/>
      </a:dk1>
      <a:lt1>
        <a:srgbClr val="FFFFFF"/>
      </a:lt1>
      <a:dk2>
        <a:srgbClr val="505050"/>
      </a:dk2>
      <a:lt2>
        <a:srgbClr val="D2D2D2"/>
      </a:lt2>
      <a:accent1>
        <a:srgbClr val="C00000"/>
      </a:accent1>
      <a:accent2>
        <a:srgbClr val="FF8C00"/>
      </a:accent2>
      <a:accent3>
        <a:srgbClr val="0072C6"/>
      </a:accent3>
      <a:accent4>
        <a:srgbClr val="008272"/>
      </a:accent4>
      <a:accent5>
        <a:srgbClr val="68217A"/>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loud and Enterprise Template Audienz Modified.pptx" id="{86C76DE8-CF42-4AE3-A659-A22419C7197D}" vid="{58779F3F-9CCA-49CE-8386-4B2E71BAE1E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rgbClr val="FFFFFF"/>
    </a:lt1>
    <a:dk2>
      <a:srgbClr val="505050"/>
    </a:dk2>
    <a:lt2>
      <a:srgbClr val="D2D2D2"/>
    </a:lt2>
    <a:accent1>
      <a:srgbClr val="C00000"/>
    </a:accent1>
    <a:accent2>
      <a:srgbClr val="FF8C00"/>
    </a:accent2>
    <a:accent3>
      <a:srgbClr val="0072C6"/>
    </a:accent3>
    <a:accent4>
      <a:srgbClr val="008272"/>
    </a:accent4>
    <a:accent5>
      <a:srgbClr val="68217A"/>
    </a:accent5>
    <a:accent6>
      <a:srgbClr val="00BCF2"/>
    </a:accent6>
    <a:hlink>
      <a:srgbClr val="0072C6"/>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b9c58cf9ffe233d71aca7717c9fab4fd">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08d24206621a984f0f050508855871de"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LastSharedByUser xmlns="2478d1b8-79bf-461f-b8e8-704d21601f1a">cesunder@microsoft.com</LastSharedByUser>
    <LastSharedByTime xmlns="2478d1b8-79bf-461f-b8e8-704d21601f1a">2016-08-03T11:49:17+00:00</LastSharedByTime>
    <DocumentDescription xmlns="230e9df3-be65-4c73-a93b-d1236ebd677e">SQL Server 2016 feature sets by SKU, including the features newly available to Standard and Express editions with Service Pack 1. This customer-ready PowerPoint deck also details the feature additions to each of the two primary SQL Server SKUs by version.</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Cynthia Peng</DisplayName>
        <AccountId>14645</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Developer Platform and Tools Marketing</TermName>
          <TermId xmlns="http://schemas.microsoft.com/office/infopath/2007/PartnerControls">b117718f-aa6c-411f-b6a8-3da180b0b2c7</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Developer Tools Domain</TermName>
          <TermId xmlns="http://schemas.microsoft.com/office/infopath/2007/PartnerControls">58c4098f-5b04-404d-a0e5-4dc5be632145</TermId>
        </TermInfo>
      </Terms>
    </eb54ac91059940029a3cc8a4ff5af673>
    <PublishingPageContent xmlns="http://schemas.microsoft.com/sharepoint/v3" xsi:nil="true"/>
    <ContentID xmlns="230e9df3-be65-4c73-a93b-d1236ebd677e" xsi:nil="true"/>
    <Coowner xmlns="230e9df3-be65-4c73-a93b-d1236ebd677e">
      <UserInfo>
        <DisplayName>i:0#.f|membership|v-vicebo@microsoft.com</DisplayName>
        <AccountId>2943</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software development tools</TermName>
          <TermId xmlns="http://schemas.microsoft.com/office/infopath/2007/PartnerControls">24853bda-fb66-4716-8bc8-88d26fdb57cb</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TermInfo xmlns="http://schemas.microsoft.com/office/infopath/2007/PartnerControls">
          <TermName xmlns="http://schemas.microsoft.com/office/infopath/2007/PartnerControls">Enterprise and Partner Group</TermName>
          <TermId xmlns="http://schemas.microsoft.com/office/infopath/2007/PartnerControls">b6e10940-8c6c-40cf-9dc4-c224c7da837a</TermId>
        </TermInfo>
        <TermInfo xmlns="http://schemas.microsoft.com/office/infopath/2007/PartnerControls">
          <TermName xmlns="http://schemas.microsoft.com/office/infopath/2007/PartnerControls">enterprise campaign in a box</TermName>
          <TermId xmlns="http://schemas.microsoft.com/office/infopath/2007/PartnerControls">39675275-15e7-44be-8b31-69c9953e6a39</TermId>
        </TermInfo>
        <TermInfo xmlns="http://schemas.microsoft.com/office/infopath/2007/PartnerControls">
          <TermName xmlns="http://schemas.microsoft.com/office/infopath/2007/PartnerControls">Insights Campaign</TermName>
          <TermId xmlns="http://schemas.microsoft.com/office/infopath/2007/PartnerControls">b5d6e11c-91ef-41ee-9bd8-5846b75485cc</TermId>
        </TermInfo>
      </Terms>
    </b4224c12c78d42ea9b214de0badf8358>
    <TaxCatchAll xmlns="230e9df3-be65-4c73-a93b-d1236ebd677e">
      <Value>16</Value>
      <Value>134</Value>
      <Value>14</Value>
      <Value>30</Value>
      <Value>115</Value>
      <Value>351</Value>
      <Value>348</Value>
      <Value>346</Value>
      <Value>345</Value>
      <Value>21</Value>
      <Value>167</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19715</_dlc_DocId>
    <_dlc_DocIdUrl xmlns="230e9df3-be65-4c73-a93b-d1236ebd677e">
      <Url>https://microsoft.sharepoint.com/sites/Infopedia_G01KC/_layouts/15/DocIdRedir.aspx?ID=G01KC-99682991-19715</Url>
      <Description>G01KC-99682991-19715</Description>
    </_dlc_DocIdUrl>
  </documentManagement>
</p:properties>
</file>

<file path=customXml/itemProps1.xml><?xml version="1.0" encoding="utf-8"?>
<ds:datastoreItem xmlns:ds="http://schemas.openxmlformats.org/officeDocument/2006/customXml" ds:itemID="{16A3A96C-F908-46B6-A179-97BB60E556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B5622B-5E0A-430E-BA00-E5F0271F6004}">
  <ds:schemaRefs>
    <ds:schemaRef ds:uri="http://schemas.microsoft.com/sharepoint/events"/>
  </ds:schemaRefs>
</ds:datastoreItem>
</file>

<file path=customXml/itemProps3.xml><?xml version="1.0" encoding="utf-8"?>
<ds:datastoreItem xmlns:ds="http://schemas.openxmlformats.org/officeDocument/2006/customXml" ds:itemID="{3A54C142-117F-438C-A356-322291182365}">
  <ds:schemaRefs>
    <ds:schemaRef ds:uri="Microsoft.SharePoint.Taxonomy.ContentTypeSync"/>
  </ds:schemaRefs>
</ds:datastoreItem>
</file>

<file path=customXml/itemProps4.xml><?xml version="1.0" encoding="utf-8"?>
<ds:datastoreItem xmlns:ds="http://schemas.openxmlformats.org/officeDocument/2006/customXml" ds:itemID="{1867C347-2653-42EE-B3B8-690327A56E55}">
  <ds:schemaRefs>
    <ds:schemaRef ds:uri="http://schemas.microsoft.com/sharepoint/v3/contenttype/forms"/>
  </ds:schemaRefs>
</ds:datastoreItem>
</file>

<file path=customXml/itemProps5.xml><?xml version="1.0" encoding="utf-8"?>
<ds:datastoreItem xmlns:ds="http://schemas.openxmlformats.org/officeDocument/2006/customXml" ds:itemID="{675D7340-0047-48BB-8B40-A1069F285AD4}">
  <ds:schemaRefs>
    <ds:schemaRef ds:uri="230e9df3-be65-4c73-a93b-d1236ebd677e"/>
    <ds:schemaRef ds:uri="http://schemas.microsoft.com/office/2006/documentManagement/types"/>
    <ds:schemaRef ds:uri="http://schemas.microsoft.com/office/2006/metadata/properties"/>
    <ds:schemaRef ds:uri="http://schemas.microsoft.com/office/infopath/2007/PartnerControls"/>
    <ds:schemaRef ds:uri="http://purl.org/dc/elements/1.1/"/>
    <ds:schemaRef ds:uri="http://schemas.microsoft.com/sharepoint/v3"/>
    <ds:schemaRef ds:uri="b3bc04a5-d503-43b1-b98c-a8cf663329d9"/>
    <ds:schemaRef ds:uri="http://schemas.openxmlformats.org/package/2006/metadata/core-properties"/>
    <ds:schemaRef ds:uri="2478d1b8-79bf-461f-b8e8-704d21601f1a"/>
    <ds:schemaRef ds:uri="http://purl.org/dc/terms/"/>
    <ds:schemaRef ds:uri="230E9DF3-BE65-4C73-A93B-D1236EBD677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2145</Words>
  <Application>Microsoft Office PowerPoint</Application>
  <PresentationFormat>Personalizado</PresentationFormat>
  <Paragraphs>216</Paragraphs>
  <Slides>35</Slides>
  <Notes>20</Notes>
  <HiddenSlides>1</HiddenSlides>
  <MMClips>0</MMClips>
  <ScaleCrop>false</ScaleCrop>
  <HeadingPairs>
    <vt:vector size="8" baseType="variant">
      <vt:variant>
        <vt:lpstr>Fuentes usadas</vt:lpstr>
      </vt:variant>
      <vt:variant>
        <vt:i4>10</vt:i4>
      </vt:variant>
      <vt:variant>
        <vt:lpstr>Tema</vt:lpstr>
      </vt:variant>
      <vt:variant>
        <vt:i4>3</vt:i4>
      </vt:variant>
      <vt:variant>
        <vt:lpstr>Servidores OLE incrustados</vt:lpstr>
      </vt:variant>
      <vt:variant>
        <vt:i4>1</vt:i4>
      </vt:variant>
      <vt:variant>
        <vt:lpstr>Títulos de diapositiva</vt:lpstr>
      </vt:variant>
      <vt:variant>
        <vt:i4>35</vt:i4>
      </vt:variant>
    </vt:vector>
  </HeadingPairs>
  <TitlesOfParts>
    <vt:vector size="49" baseType="lpstr">
      <vt:lpstr>ＭＳ Ｐゴシック</vt:lpstr>
      <vt:lpstr>ＭＳ Ｐゴシック</vt:lpstr>
      <vt:lpstr>Arial</vt:lpstr>
      <vt:lpstr>Calibri</vt:lpstr>
      <vt:lpstr>Calibri Light</vt:lpstr>
      <vt:lpstr>Segoe Pro</vt:lpstr>
      <vt:lpstr>Segoe Pro Light</vt:lpstr>
      <vt:lpstr>Segoe UI</vt:lpstr>
      <vt:lpstr>Segoe UI Light</vt:lpstr>
      <vt:lpstr>Wingdings</vt:lpstr>
      <vt:lpstr>STB Conversations 2013</vt:lpstr>
      <vt:lpstr>STB Product Families 2013</vt:lpstr>
      <vt:lpstr>Office Theme</vt:lpstr>
      <vt:lpstr>think-cell Slide</vt:lpstr>
      <vt:lpstr>Presentación de PowerPoint</vt:lpstr>
      <vt:lpstr>¿Quiénes somos?</vt:lpstr>
      <vt:lpstr>Unit Testing - ¿Qué es?</vt:lpstr>
      <vt:lpstr>Unit Testing - ¿Para qué?</vt:lpstr>
      <vt:lpstr>Unit Testing - ¿Cómo?</vt:lpstr>
      <vt:lpstr>Unit Testing - Productividad</vt:lpstr>
      <vt:lpstr>Demo</vt:lpstr>
      <vt:lpstr>Unit Testing - ¿Cómo deben ser las pruebas?</vt:lpstr>
      <vt:lpstr>Unit Testing - ¿Qué hay que probar?</vt:lpstr>
      <vt:lpstr>Unit Testing – Condiciones Límite</vt:lpstr>
      <vt:lpstr>Demo</vt:lpstr>
      <vt:lpstr>Principios R-SOLID</vt:lpstr>
      <vt:lpstr>R-SOLID CASO USO FOTOS</vt:lpstr>
      <vt:lpstr>R-SOLID</vt:lpstr>
      <vt:lpstr>R-SOLID – Fase 4</vt:lpstr>
      <vt:lpstr>R-SOLID – Fase 4 - Varios</vt:lpstr>
      <vt:lpstr>R-SOLID – Ejemplo solution</vt:lpstr>
      <vt:lpstr>SOLID</vt:lpstr>
      <vt:lpstr>SOLID</vt:lpstr>
      <vt:lpstr>SOLID</vt:lpstr>
      <vt:lpstr>SOLID</vt:lpstr>
      <vt:lpstr>Single responsability principle</vt:lpstr>
      <vt:lpstr>Demo</vt:lpstr>
      <vt:lpstr>Open – Closed principle</vt:lpstr>
      <vt:lpstr>Demo</vt:lpstr>
      <vt:lpstr>Liskov substitution principle</vt:lpstr>
      <vt:lpstr>Demo</vt:lpstr>
      <vt:lpstr>Interface segregation principle</vt:lpstr>
      <vt:lpstr>Demo</vt:lpstr>
      <vt:lpstr>Dependency inversion principle</vt:lpstr>
      <vt:lpstr>Demo</vt:lpstr>
      <vt:lpstr>Presentación de PowerPoint</vt:lpstr>
      <vt:lpstr>Otros conceptos básicos</vt:lpstr>
      <vt:lpstr>Patrones arquitecturales: N-Layer</vt:lpstr>
      <vt:lpstr>Patrones arquitecturales: MV*</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2016 SP1 Editions</dc:title>
  <dc:creator/>
  <cp:lastModifiedBy/>
  <cp:revision>1</cp:revision>
  <dcterms:created xsi:type="dcterms:W3CDTF">2014-10-14T16:17:56Z</dcterms:created>
  <dcterms:modified xsi:type="dcterms:W3CDTF">2017-03-25T11:4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Order">
    <vt:r8>20729700</vt:r8>
  </property>
  <property fmtid="{D5CDD505-2E9C-101B-9397-08002B2CF9AE}" pid="4" name="_dlc_policyId">
    <vt:lpwstr/>
  </property>
  <property fmtid="{D5CDD505-2E9C-101B-9397-08002B2CF9AE}" pid="5" name="Region">
    <vt:lpwstr/>
  </property>
  <property fmtid="{D5CDD505-2E9C-101B-9397-08002B2CF9AE}" pid="6" name="Confidentiality">
    <vt:lpwstr>14;#customer ready|8986c41d-21c5-4f8f-8a12-ea4625b46858</vt:lpwstr>
  </property>
  <property fmtid="{D5CDD505-2E9C-101B-9397-08002B2CF9AE}" pid="7" name="ItemType">
    <vt:lpwstr>16;#customer presentations|18e9ae94-e321-4eea-82d2-ad5b2f470f3c;#351;#feedback requests|00ce1828-98a3-430e-af54-eda270e1be04</vt:lpwstr>
  </property>
  <property fmtid="{D5CDD505-2E9C-101B-9397-08002B2CF9AE}" pid="8" name="ContentTypeId">
    <vt:lpwstr>0x0101000E4CB7077FEE4FF7AE86D4A500EEC7800300F96E2758736AEF45AFCE0C190C2A9DEC00CC074746C0EF6D439A06F1AAD31A3C2B</vt:lpwstr>
  </property>
  <property fmtid="{D5CDD505-2E9C-101B-9397-08002B2CF9AE}" pid="9" name="Product">
    <vt:lpwstr/>
  </property>
  <property fmtid="{D5CDD505-2E9C-101B-9397-08002B2CF9AE}" pid="10" name="Industries">
    <vt:lpwstr/>
  </property>
  <property fmtid="{D5CDD505-2E9C-101B-9397-08002B2CF9AE}" pid="11" name="Roles">
    <vt:lpwstr/>
  </property>
  <property fmtid="{D5CDD505-2E9C-101B-9397-08002B2CF9AE}" pid="12" name="Event1">
    <vt:lpwstr>217;#Unassigned|e51362f4-782c-41a8-bb7b-e0cfc8669933</vt:lpwstr>
  </property>
  <property fmtid="{D5CDD505-2E9C-101B-9397-08002B2CF9AE}" pid="13" name="Audience">
    <vt:lpwstr/>
  </property>
  <property fmtid="{D5CDD505-2E9C-101B-9397-08002B2CF9AE}" pid="14" name="SMSGDomain">
    <vt:lpwstr>21;#Cloud and Enterprise|adc2fe87-c79a-4ded-a449-3f86b954069d;#345;#Developer Tools Domain|58c4098f-5b04-404d-a0e5-4dc5be632145</vt:lpwstr>
  </property>
  <property fmtid="{D5CDD505-2E9C-101B-9397-08002B2CF9AE}" pid="15" name="Competitors">
    <vt:lpwstr/>
  </property>
  <property fmtid="{D5CDD505-2E9C-101B-9397-08002B2CF9AE}" pid="16" name="ItemRetentionFormula">
    <vt:lpwstr/>
  </property>
  <property fmtid="{D5CDD505-2E9C-101B-9397-08002B2CF9AE}" pid="17" name="BusinessArchitecture">
    <vt:lpwstr/>
  </property>
  <property fmtid="{D5CDD505-2E9C-101B-9397-08002B2CF9AE}" pid="18" name="SMSGTags">
    <vt:lpwstr/>
  </property>
  <property fmtid="{D5CDD505-2E9C-101B-9397-08002B2CF9AE}" pid="19" name="Products">
    <vt:lpwstr>346;#software development tools|24853bda-fb66-4716-8bc8-88d26fdb57cb</vt:lpwstr>
  </property>
  <property fmtid="{D5CDD505-2E9C-101B-9397-08002B2CF9AE}" pid="20" name="_dlc_DocIdItemGuid">
    <vt:lpwstr>a1b2dc17-3185-46a4-899c-b74e1db68442</vt:lpwstr>
  </property>
  <property fmtid="{D5CDD505-2E9C-101B-9397-08002B2CF9AE}" pid="21" name="EnterpriseDomainTags">
    <vt:lpwstr>115;#Enterprise and Partner Group|b6e10940-8c6c-40cf-9dc4-c224c7da837a;#167;#enterprise campaign in a box|39675275-15e7-44be-8b31-69c9953e6a39;#134;#Insights Campaign|b5d6e11c-91ef-41ee-9bd8-5846b75485cc</vt:lpwstr>
  </property>
  <property fmtid="{D5CDD505-2E9C-101B-9397-08002B2CF9AE}" pid="22" name="Partners">
    <vt:lpwstr/>
  </property>
  <property fmtid="{D5CDD505-2E9C-101B-9397-08002B2CF9AE}" pid="23" name="Segments">
    <vt:lpwstr/>
  </property>
  <property fmtid="{D5CDD505-2E9C-101B-9397-08002B2CF9AE}" pid="24" name="ActivitiesAndPrograms">
    <vt:lpwstr/>
  </property>
  <property fmtid="{D5CDD505-2E9C-101B-9397-08002B2CF9AE}" pid="25" name="WorkflowChangePath">
    <vt:lpwstr>d3765c0c-e2b5-4307-934b-d5d862e93ab3,10;d3765c0c-e2b5-4307-934b-d5d862e93ab3,21;d3765c0c-e2b5-4307-934b-d5d862e93ab3,24;d3765c0c-e2b5-4307-934b-d5d862e93ab3,27;d779f5e8-bb23-40fa-a1a5-97eb63737902,60;1fb2635a-68dc-46ab-be64-a3a681949ebe,98;1fb2635a-68dc-4</vt:lpwstr>
  </property>
  <property fmtid="{D5CDD505-2E9C-101B-9397-08002B2CF9AE}" pid="26" name="Groups">
    <vt:lpwstr>348;#Developer Platform and Tools Marketing|b117718f-aa6c-411f-b6a8-3da180b0b2c7</vt:lpwstr>
  </property>
  <property fmtid="{D5CDD505-2E9C-101B-9397-08002B2CF9AE}" pid="27" name="Topics">
    <vt:lpwstr>30;#hub subset|c6bfd112-b986-4a0a-aa8d-90e767bfdfa6</vt:lpwstr>
  </property>
  <property fmtid="{D5CDD505-2E9C-101B-9397-08002B2CF9AE}" pid="28" name="LastUpdatedByBatchTagging">
    <vt:bool>true</vt:bool>
  </property>
  <property fmtid="{D5CDD505-2E9C-101B-9397-08002B2CF9AE}" pid="29" name="messageframeworktype">
    <vt:lpwstr/>
  </property>
  <property fmtid="{D5CDD505-2E9C-101B-9397-08002B2CF9AE}" pid="30" name="Languages">
    <vt:lpwstr/>
  </property>
  <property fmtid="{D5CDD505-2E9C-101B-9397-08002B2CF9AE}" pid="31" name="_docset_NoMedatataSyncRequired">
    <vt:lpwstr>False</vt:lpwstr>
  </property>
  <property fmtid="{D5CDD505-2E9C-101B-9397-08002B2CF9AE}" pid="32" name="SMSGTagsTaxHTField0">
    <vt:lpwstr/>
  </property>
  <property fmtid="{D5CDD505-2E9C-101B-9397-08002B2CF9AE}" pid="33" name="IsMyDocuments">
    <vt:bool>true</vt:bool>
  </property>
  <property fmtid="{D5CDD505-2E9C-101B-9397-08002B2CF9AE}" pid="34" name="Audiences">
    <vt:lpwstr/>
  </property>
  <property fmtid="{D5CDD505-2E9C-101B-9397-08002B2CF9AE}" pid="35" name="j4d667fb28274e85b2214f6e751c8d1f">
    <vt:lpwstr/>
  </property>
  <property fmtid="{D5CDD505-2E9C-101B-9397-08002B2CF9AE}" pid="36" name="j031aa32f4154c8c9a646efae715ebde">
    <vt:lpwstr/>
  </property>
  <property fmtid="{D5CDD505-2E9C-101B-9397-08002B2CF9AE}" pid="37" name="TechnicalLevel">
    <vt:lpwstr/>
  </property>
  <property fmtid="{D5CDD505-2E9C-101B-9397-08002B2CF9AE}" pid="38" name="p1cd454bacc149bfbcfd764edd279de7">
    <vt:lpwstr/>
  </property>
  <property fmtid="{D5CDD505-2E9C-101B-9397-08002B2CF9AE}" pid="39" name="bc28b5f076654a3b96073bbbebfeb8c9">
    <vt:lpwstr/>
  </property>
  <property fmtid="{D5CDD505-2E9C-101B-9397-08002B2CF9AE}" pid="40" name="MSProducts">
    <vt:lpwstr/>
  </property>
  <property fmtid="{D5CDD505-2E9C-101B-9397-08002B2CF9AE}" pid="41" name="l311460e3fdf46688abc31ddb7bdc05a">
    <vt:lpwstr/>
  </property>
  <property fmtid="{D5CDD505-2E9C-101B-9397-08002B2CF9AE}" pid="42" name="la4444b61d19467597d63190b69ac227">
    <vt:lpwstr/>
  </property>
  <property fmtid="{D5CDD505-2E9C-101B-9397-08002B2CF9AE}" pid="43" name="MSProductsTaxHTField0">
    <vt:lpwstr/>
  </property>
  <property fmtid="{D5CDD505-2E9C-101B-9397-08002B2CF9AE}" pid="44" name="MSLanguage">
    <vt:lpwstr/>
  </property>
  <property fmtid="{D5CDD505-2E9C-101B-9397-08002B2CF9AE}" pid="45" name="cb7870d3641f4a52807a63577a9c1b08">
    <vt:lpwstr/>
  </property>
  <property fmtid="{D5CDD505-2E9C-101B-9397-08002B2CF9AE}" pid="46" name="LearningOrganization">
    <vt:lpwstr/>
  </property>
  <property fmtid="{D5CDD505-2E9C-101B-9397-08002B2CF9AE}" pid="47" name="EmployeeRole">
    <vt:lpwstr/>
  </property>
  <property fmtid="{D5CDD505-2E9C-101B-9397-08002B2CF9AE}" pid="48" name="LearningDeliveryMethod">
    <vt:lpwstr/>
  </property>
  <property fmtid="{D5CDD505-2E9C-101B-9397-08002B2CF9AE}" pid="49" name="SalesGeography">
    <vt:lpwstr/>
  </property>
  <property fmtid="{D5CDD505-2E9C-101B-9397-08002B2CF9AE}" pid="50" name="of67e5d4b76f4a9db8769983fda9cec0">
    <vt:lpwstr/>
  </property>
  <property fmtid="{D5CDD505-2E9C-101B-9397-08002B2CF9AE}" pid="51" name="NewsType">
    <vt:lpwstr/>
  </property>
  <property fmtid="{D5CDD505-2E9C-101B-9397-08002B2CF9AE}" pid="52" name="ga0c0bf70a6644469c61b3efa7025301">
    <vt:lpwstr/>
  </property>
  <property fmtid="{D5CDD505-2E9C-101B-9397-08002B2CF9AE}" pid="53" name="ExperienceContentType">
    <vt:lpwstr/>
  </property>
  <property fmtid="{D5CDD505-2E9C-101B-9397-08002B2CF9AE}" pid="54" name="ContentExtensions">
    <vt:lpwstr/>
  </property>
  <property fmtid="{D5CDD505-2E9C-101B-9397-08002B2CF9AE}" pid="55" name="l6f004f21209409da86a713c0f24627d">
    <vt:lpwstr/>
  </property>
  <property fmtid="{D5CDD505-2E9C-101B-9397-08002B2CF9AE}" pid="56" name="e8080b0481964c759b2c36ae49591b31">
    <vt:lpwstr/>
  </property>
  <property fmtid="{D5CDD505-2E9C-101B-9397-08002B2CF9AE}" pid="57" name="ldac8aee9d1f469e8cd8c3f8d6a615f2">
    <vt:lpwstr/>
  </property>
  <property fmtid="{D5CDD505-2E9C-101B-9397-08002B2CF9AE}" pid="58" name="NewsTopic">
    <vt:lpwstr/>
  </property>
  <property fmtid="{D5CDD505-2E9C-101B-9397-08002B2CF9AE}" pid="59" name="NewsSource">
    <vt:lpwstr/>
  </property>
  <property fmtid="{D5CDD505-2E9C-101B-9397-08002B2CF9AE}" pid="60" name="MSPhysicalGeography">
    <vt:lpwstr/>
  </property>
  <property fmtid="{D5CDD505-2E9C-101B-9397-08002B2CF9AE}" pid="61" name="j3562c58ee414e028925bc902cfc01a1">
    <vt:lpwstr/>
  </property>
  <property fmtid="{D5CDD505-2E9C-101B-9397-08002B2CF9AE}" pid="62" name="SharedWithUsers">
    <vt:lpwstr>12864;#David Rasco;#12865;#Candace Vance;#18354;#Jay Frier;#61683;#Cecil Sunder</vt:lpwstr>
  </property>
</Properties>
</file>